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737" r:id="rId3"/>
  </p:sldMasterIdLst>
  <p:sldIdLst>
    <p:sldId id="256" r:id="rId4"/>
    <p:sldId id="274" r:id="rId5"/>
    <p:sldId id="2147470017" r:id="rId6"/>
    <p:sldId id="2147470019" r:id="rId7"/>
    <p:sldId id="2147470020" r:id="rId8"/>
    <p:sldId id="472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00" autoAdjust="0"/>
    <p:restoredTop sz="94660"/>
  </p:normalViewPr>
  <p:slideViewPr>
    <p:cSldViewPr snapToGrid="0">
      <p:cViewPr varScale="1">
        <p:scale>
          <a:sx n="29" d="100"/>
          <a:sy n="29" d="100"/>
        </p:scale>
        <p:origin x="60" y="12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png"/><Relationship Id="rId5" Type="http://schemas.openxmlformats.org/officeDocument/2006/relationships/image" Target="../media/image13.png"/><Relationship Id="rId4" Type="http://schemas.openxmlformats.org/officeDocument/2006/relationships/image" Target="../media/image14.png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7676A-D495-E11E-5814-6170FFFAF7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B76BD2-E3FB-3909-F8D9-A26BE6E0BB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679A07-062B-C665-89E2-454AEFE474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00D1AF-46DD-4C79-A1D5-74258831387C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1301DB-5AD7-1799-CB45-9CD16535E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DC0549-371C-DB3D-AAC1-EECA4B968A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E6CA6-941C-4361-9EC3-9B98B9D378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5251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C4293F-804F-78D6-912C-6B9177AC43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4BAE1FF-7EFF-E63A-8B63-9CC8B707DD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F7069B-6932-4BFB-3168-882EB4F10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00D1AF-46DD-4C79-A1D5-74258831387C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AC2229-32DB-A642-53FA-E11034428D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172F9F-6DA4-ACE9-0657-46686FB4A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E6CA6-941C-4361-9EC3-9B98B9D378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3233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10961F4-DC20-3B68-31E0-4884D4263D3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779F2F-91F9-B656-425A-59520CEEA3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E910C2-6C5A-48FB-BFAE-5160E87E29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00D1AF-46DD-4C79-A1D5-74258831387C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3EB2FA-4018-4A5A-3823-7BAF06408F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C4C039-D601-01AC-468D-E3B7A61412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E6CA6-941C-4361-9EC3-9B98B9D378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7839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01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3725272F-C41F-221F-0AA3-A7AF0DF462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3899" y="270942"/>
            <a:ext cx="3209159" cy="1080187"/>
          </a:xfrm>
          <a:prstGeom prst="rect">
            <a:avLst/>
          </a:prstGeom>
        </p:spPr>
      </p:pic>
      <p:pic>
        <p:nvPicPr>
          <p:cNvPr id="11" name="Picture 10" descr="A blue circular pattern with lines in the center&#10;&#10;Description automatically generated">
            <a:extLst>
              <a:ext uri="{FF2B5EF4-FFF2-40B4-BE49-F238E27FC236}">
                <a16:creationId xmlns:a16="http://schemas.microsoft.com/office/drawing/2014/main" id="{395C89A0-B92F-C0E7-2D2B-86475F9106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0585" t="36257" r="9098" b="16089"/>
          <a:stretch/>
        </p:blipFill>
        <p:spPr>
          <a:xfrm>
            <a:off x="0" y="0"/>
            <a:ext cx="8679977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210100"/>
            <a:ext cx="5943600" cy="1661993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D6FA52-BDDD-A4CC-2EB6-7315D0FFCA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3504" y="4198555"/>
            <a:ext cx="3657600" cy="215444"/>
          </a:xfrm>
        </p:spPr>
        <p:txBody>
          <a:bodyPr>
            <a:noAutofit/>
          </a:bodyPr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First Las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3A9D68-8F74-784C-88FA-EDC9BEE775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3504" y="4443984"/>
            <a:ext cx="3657600" cy="215444"/>
          </a:xfrm>
        </p:spPr>
        <p:txBody>
          <a:bodyPr>
            <a:noAutofit/>
          </a:bodyPr>
          <a:lstStyle>
            <a:lvl1pPr>
              <a:defRPr cap="all" spc="150" baseline="0"/>
            </a:lvl1pPr>
          </a:lstStyle>
          <a:p>
            <a:pPr lvl="0"/>
            <a:r>
              <a:rPr lang="en-US" dirty="0"/>
              <a:t>Month xx, </a:t>
            </a:r>
            <a:r>
              <a:rPr lang="en-US" dirty="0" err="1"/>
              <a:t>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5069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e circular pattern with lines in the center&#10;&#10;Description automatically generated">
            <a:extLst>
              <a:ext uri="{FF2B5EF4-FFF2-40B4-BE49-F238E27FC236}">
                <a16:creationId xmlns:a16="http://schemas.microsoft.com/office/drawing/2014/main" id="{BE351D0F-548B-C8B5-E4F5-27C0BA3FEB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0585" t="36257" r="9098" b="16089"/>
          <a:stretch/>
        </p:blipFill>
        <p:spPr>
          <a:xfrm>
            <a:off x="0" y="0"/>
            <a:ext cx="8679977" cy="6858000"/>
          </a:xfrm>
          <a:prstGeom prst="rect">
            <a:avLst/>
          </a:prstGeom>
        </p:spPr>
      </p:pic>
      <p:pic>
        <p:nvPicPr>
          <p:cNvPr id="6" name="Picture 5" descr="A black background with white letters&#10;&#10;Description automatically generated">
            <a:extLst>
              <a:ext uri="{FF2B5EF4-FFF2-40B4-BE49-F238E27FC236}">
                <a16:creationId xmlns:a16="http://schemas.microsoft.com/office/drawing/2014/main" id="{EDED7CF9-F191-CABB-B8EC-BAFEE23BFDE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1350" y="510266"/>
            <a:ext cx="2741522" cy="59297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210100"/>
            <a:ext cx="5943600" cy="1661993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solidFill>
                  <a:schemeClr val="accent2"/>
                </a:solidFill>
              </a:rPr>
              <a:t>Presentation</a:t>
            </a:r>
            <a:br>
              <a:rPr lang="en-US" dirty="0">
                <a:solidFill>
                  <a:schemeClr val="accent2"/>
                </a:solidFill>
              </a:rPr>
            </a:br>
            <a:r>
              <a:rPr lang="en-US" dirty="0">
                <a:solidFill>
                  <a:schemeClr val="accent2"/>
                </a:solidFill>
              </a:rPr>
              <a:t>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D6FA52-BDDD-A4CC-2EB6-7315D0FFCA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3504" y="4198555"/>
            <a:ext cx="3657600" cy="215444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First Last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B21F297B-0637-9ABD-12E3-5428E0F0B6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3504" y="4443984"/>
            <a:ext cx="3657600" cy="215444"/>
          </a:xfrm>
        </p:spPr>
        <p:txBody>
          <a:bodyPr>
            <a:noAutofit/>
          </a:bodyPr>
          <a:lstStyle>
            <a:lvl1pPr>
              <a:defRPr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Month xx, </a:t>
            </a:r>
            <a:r>
              <a:rPr lang="en-US" dirty="0" err="1"/>
              <a:t>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83560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561D86-26BE-0782-B9C1-337F57D821BC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5B525631-172F-1503-6D51-B6A8940318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022" t="8592" r="29897" b="35341"/>
          <a:stretch/>
        </p:blipFill>
        <p:spPr>
          <a:xfrm>
            <a:off x="6396780" y="1449970"/>
            <a:ext cx="5795219" cy="540803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50292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026932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FB0112-5FB7-06C8-73F4-9770574E19B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5B525631-172F-1503-6D51-B6A8940318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022" t="8592" r="29897" b="35341"/>
          <a:stretch/>
        </p:blipFill>
        <p:spPr>
          <a:xfrm>
            <a:off x="6396780" y="1449970"/>
            <a:ext cx="5795219" cy="540803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50292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8892594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2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attern of blue circles&#10;&#10;Description automatically generated">
            <a:extLst>
              <a:ext uri="{FF2B5EF4-FFF2-40B4-BE49-F238E27FC236}">
                <a16:creationId xmlns:a16="http://schemas.microsoft.com/office/drawing/2014/main" id="{A0EA0990-A2F4-1BF9-7E2E-0F928BF438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94400" y="0"/>
            <a:ext cx="61976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45720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E3DA334-BD67-3270-BB6B-1974F72537E2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28251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attern of blue circles&#10;&#10;Description automatically generated">
            <a:extLst>
              <a:ext uri="{FF2B5EF4-FFF2-40B4-BE49-F238E27FC236}">
                <a16:creationId xmlns:a16="http://schemas.microsoft.com/office/drawing/2014/main" id="{48FC7204-5736-4986-257C-8B009A7B61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94400" y="0"/>
            <a:ext cx="61976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45720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1DFE6FA-E4B1-90C8-AD9A-BAC2391E3C4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52388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3 Photo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8ABD6A7-97DC-0F94-73C1-05E5826CC6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630863" y="0"/>
            <a:ext cx="6561137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45720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732EED-DAB1-2FA3-9475-434B19BD843B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27090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3 Photo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3E0DBAF3-315B-0F99-2AB9-2CCA70A0593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630863" y="0"/>
            <a:ext cx="6561137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45720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EDE136-7733-53B9-929D-67A8295584A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1978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AEC5B5-EC99-6D73-EF28-DCED1262CA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062DDF-6FC9-52F2-A352-2395934CA8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ED8501-A485-0DF1-7BF3-4831A87B5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00D1AF-46DD-4C79-A1D5-74258831387C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19DC34-0C92-B6F5-43AE-1AECBC2444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203460-60CA-EAA7-0BCE-ED89665B9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E6CA6-941C-4361-9EC3-9B98B9D378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5495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4 Text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51376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3D43F2-EAA3-73BE-D020-2B63AB088F9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0" y="4151376"/>
            <a:ext cx="4708525" cy="1874838"/>
          </a:xfrm>
        </p:spPr>
        <p:txBody>
          <a:bodyPr>
            <a:noAutofit/>
          </a:bodyPr>
          <a:lstStyle>
            <a:lvl1pPr>
              <a:spcAft>
                <a:spcPts val="1400"/>
              </a:spcAft>
              <a:defRPr sz="1400">
                <a:solidFill>
                  <a:schemeClr val="accent1"/>
                </a:solidFill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8B6CF07-364E-4D1B-66F0-CD310581E3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51021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3B3F0A-DA00-A216-2B2E-B115DBA31CB1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37480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66571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4 Tex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2699-6D86-4659-D799-4912355B6CE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37480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51376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3D43F2-EAA3-73BE-D020-2B63AB088F9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0" y="4151376"/>
            <a:ext cx="4708525" cy="1874838"/>
          </a:xfrm>
        </p:spPr>
        <p:txBody>
          <a:bodyPr>
            <a:noAutofit/>
          </a:bodyPr>
          <a:lstStyle>
            <a:lvl1pPr>
              <a:spcAft>
                <a:spcPts val="1800"/>
              </a:spcAft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8B6CF07-364E-4D1B-66F0-CD310581E3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51021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8587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ext 01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121" y="860613"/>
            <a:ext cx="6405280" cy="636494"/>
          </a:xfrm>
        </p:spPr>
        <p:txBody>
          <a:bodyPr/>
          <a:lstStyle/>
          <a:p>
            <a:r>
              <a:rPr lang="en-US" dirty="0"/>
              <a:t>Headline title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121408"/>
            <a:ext cx="6405279" cy="3651863"/>
          </a:xfrm>
        </p:spPr>
        <p:txBody>
          <a:bodyPr>
            <a:noAutofit/>
          </a:bodyPr>
          <a:lstStyle>
            <a:lvl1pPr marL="285750" indent="-28575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/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/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/>
            </a:lvl4pPr>
            <a:lvl5pPr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 dirty="0"/>
              <a:t>Topic goes here</a:t>
            </a:r>
          </a:p>
          <a:p>
            <a:pPr lvl="1"/>
            <a:r>
              <a:rPr lang="en-US" dirty="0"/>
              <a:t>Sub-topic goes here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6D2811B-4F7D-1E70-1DDB-293FBB480BF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58139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7A8DA75-FB00-D9E8-94BB-23E6EDE3D2C7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title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121408"/>
            <a:ext cx="6405279" cy="3651863"/>
          </a:xfrm>
        </p:spPr>
        <p:txBody>
          <a:bodyPr>
            <a:noAutofit/>
          </a:bodyPr>
          <a:lstStyle>
            <a:lvl1pPr marL="285750" indent="-28575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>
                <a:solidFill>
                  <a:schemeClr val="accent2"/>
                </a:solidFill>
              </a:defRPr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>
                <a:solidFill>
                  <a:schemeClr val="accent2"/>
                </a:solidFill>
              </a:defRPr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>
                <a:solidFill>
                  <a:schemeClr val="accent2"/>
                </a:solidFill>
              </a:defRPr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Topic goes here</a:t>
            </a:r>
          </a:p>
          <a:p>
            <a:pPr lvl="1"/>
            <a:r>
              <a:rPr lang="en-US" dirty="0"/>
              <a:t>Sub-topic goes here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7325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02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AAC23BB0-ECCE-A8BF-59DE-1AC543592B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57" t="33493" r="32527" b="570"/>
          <a:stretch/>
        </p:blipFill>
        <p:spPr>
          <a:xfrm>
            <a:off x="6857905" y="0"/>
            <a:ext cx="5334096" cy="54346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1060704"/>
            <a:ext cx="6414244" cy="636494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EFFB91-635F-A1DD-2023-B4E4F9D515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569465"/>
            <a:ext cx="6405279" cy="338328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None/>
              <a:defRPr sz="1800" b="0"/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/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/>
            </a:lvl4pPr>
            <a:lvl5pPr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 dirty="0"/>
              <a:t>Insert table chart</a:t>
            </a:r>
          </a:p>
        </p:txBody>
      </p:sp>
    </p:spTree>
    <p:extLst>
      <p:ext uri="{BB962C8B-B14F-4D97-AF65-F5344CB8AC3E}">
        <p14:creationId xmlns:p14="http://schemas.microsoft.com/office/powerpoint/2010/main" val="263273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1060704"/>
            <a:ext cx="6414244" cy="636494"/>
          </a:xfrm>
        </p:spPr>
        <p:txBody>
          <a:bodyPr/>
          <a:lstStyle>
            <a:lvl1pPr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F73C4CF6-3813-0C7F-6995-9DFCC05C2D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57" t="33493" r="32527" b="570"/>
          <a:stretch/>
        </p:blipFill>
        <p:spPr>
          <a:xfrm>
            <a:off x="6857905" y="0"/>
            <a:ext cx="5334096" cy="543469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F108A92-B4AA-DC22-DDB0-4A72F0B9A84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569465"/>
            <a:ext cx="6405279" cy="338328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>
                <a:solidFill>
                  <a:schemeClr val="accent2"/>
                </a:solidFill>
              </a:defRPr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>
                <a:solidFill>
                  <a:schemeClr val="accent2"/>
                </a:solidFill>
              </a:defRPr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Insert table chart</a:t>
            </a:r>
          </a:p>
        </p:txBody>
      </p:sp>
    </p:spTree>
    <p:extLst>
      <p:ext uri="{BB962C8B-B14F-4D97-AF65-F5344CB8AC3E}">
        <p14:creationId xmlns:p14="http://schemas.microsoft.com/office/powerpoint/2010/main" val="31242008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 of Content 02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AAC23BB0-ECCE-A8BF-59DE-1AC543592B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57" t="33493" r="32527" b="570"/>
          <a:stretch/>
        </p:blipFill>
        <p:spPr>
          <a:xfrm>
            <a:off x="6857905" y="0"/>
            <a:ext cx="5334096" cy="54346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1060704"/>
            <a:ext cx="6414244" cy="636494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EFFB91-635F-A1DD-2023-B4E4F9D515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295144"/>
            <a:ext cx="6405279" cy="3383280"/>
          </a:xfrm>
        </p:spPr>
        <p:txBody>
          <a:bodyPr>
            <a:noAutofit/>
          </a:bodyPr>
          <a:lstStyle>
            <a:lvl1pPr marL="285750" indent="-28575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/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/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/>
            </a:lvl4pPr>
            <a:lvl5pPr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 dirty="0"/>
              <a:t>Topic goes here</a:t>
            </a:r>
          </a:p>
          <a:p>
            <a:pPr lvl="1"/>
            <a:r>
              <a:rPr lang="en-US" dirty="0"/>
              <a:t>Sub-topic goes here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117802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1060704"/>
            <a:ext cx="6414244" cy="636494"/>
          </a:xfrm>
        </p:spPr>
        <p:txBody>
          <a:bodyPr/>
          <a:lstStyle>
            <a:lvl1pPr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F73C4CF6-3813-0C7F-6995-9DFCC05C2D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57" t="33493" r="32527" b="570"/>
          <a:stretch/>
        </p:blipFill>
        <p:spPr>
          <a:xfrm>
            <a:off x="6857905" y="0"/>
            <a:ext cx="5334096" cy="543469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F108A92-B4AA-DC22-DDB0-4A72F0B9A84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295144"/>
            <a:ext cx="6405279" cy="3383280"/>
          </a:xfrm>
        </p:spPr>
        <p:txBody>
          <a:bodyPr>
            <a:noAutofit/>
          </a:bodyPr>
          <a:lstStyle>
            <a:lvl1pPr marL="285750" indent="-28575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>
                <a:solidFill>
                  <a:schemeClr val="accent2"/>
                </a:solidFill>
              </a:defRPr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>
                <a:solidFill>
                  <a:schemeClr val="accent2"/>
                </a:solidFill>
              </a:defRPr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>
                <a:solidFill>
                  <a:schemeClr val="accent2"/>
                </a:solidFill>
              </a:defRPr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Topic goes here</a:t>
            </a:r>
          </a:p>
          <a:p>
            <a:pPr lvl="1"/>
            <a:r>
              <a:rPr lang="en-US" dirty="0"/>
              <a:t>Sub-topic goes here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73874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121" y="1060704"/>
            <a:ext cx="6405280" cy="636494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 dirty="0"/>
              <a:t>Conten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958B4A9-FF0E-5E01-939D-8B8963B5E1F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5121" y="2136775"/>
            <a:ext cx="2369433" cy="3679825"/>
          </a:xfrm>
        </p:spPr>
        <p:txBody>
          <a:bodyPr/>
          <a:lstStyle>
            <a:lvl1pPr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574EBD5-A878-C2F7-1B98-414683D3EA3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52800" y="2590800"/>
            <a:ext cx="2286000" cy="3200400"/>
          </a:xfrm>
        </p:spPr>
        <p:txBody>
          <a:bodyPr/>
          <a:lstStyle>
            <a:lvl1pPr>
              <a:defRPr sz="1200" b="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Add tab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9485D06-7DBB-D860-135D-3968C2AE3B32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096000" y="2590800"/>
            <a:ext cx="2286000" cy="3200400"/>
          </a:xfrm>
        </p:spPr>
        <p:txBody>
          <a:bodyPr/>
          <a:lstStyle>
            <a:lvl1pPr>
              <a:defRPr sz="1200" b="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tab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7816DC8-948A-4D9A-86B8-AA36E000F30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839200" y="2590800"/>
            <a:ext cx="2286000" cy="3200400"/>
          </a:xfrm>
        </p:spPr>
        <p:txBody>
          <a:bodyPr/>
          <a:lstStyle>
            <a:lvl1pPr>
              <a:defRPr sz="1200" b="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tab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5F0BA6F-6DE8-E572-EE40-3F4DD00FCE86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352800" y="1938528"/>
            <a:ext cx="2286000" cy="500719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sz="2400" dirty="0">
                <a:solidFill>
                  <a:schemeClr val="accent1"/>
                </a:solidFill>
                <a:latin typeface="Georgia" panose="02040502050405020303" pitchFamily="18" charset="0"/>
              </a:rPr>
              <a:t>Topic title her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48B2648-EFDC-4E85-ADA6-3BF0253AB327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096000" y="1938528"/>
            <a:ext cx="2286000" cy="500719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sz="2400" dirty="0">
                <a:solidFill>
                  <a:schemeClr val="accent1"/>
                </a:solidFill>
                <a:latin typeface="Georgia" panose="02040502050405020303" pitchFamily="18" charset="0"/>
              </a:rPr>
              <a:t>Topic title her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82951DA-E01F-A040-D2B9-A2E4C8F21F31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839200" y="1938528"/>
            <a:ext cx="2286000" cy="500719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sz="2400" dirty="0">
                <a:solidFill>
                  <a:schemeClr val="accent1"/>
                </a:solidFill>
                <a:latin typeface="Georgia" panose="02040502050405020303" pitchFamily="18" charset="0"/>
              </a:rPr>
              <a:t>Topic title here</a:t>
            </a:r>
          </a:p>
        </p:txBody>
      </p:sp>
    </p:spTree>
    <p:extLst>
      <p:ext uri="{BB962C8B-B14F-4D97-AF65-F5344CB8AC3E}">
        <p14:creationId xmlns:p14="http://schemas.microsoft.com/office/powerpoint/2010/main" val="36481017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3B4BA7AB-7730-19B3-538E-1FC93465E2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291" t="28824" r="29453" b="1033"/>
          <a:stretch/>
        </p:blipFill>
        <p:spPr>
          <a:xfrm>
            <a:off x="5355170" y="-1"/>
            <a:ext cx="6836830" cy="66754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614236"/>
            <a:ext cx="4561239" cy="636494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574EBD5-A878-C2F7-1B98-414683D3EA3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09599" y="2590800"/>
            <a:ext cx="4556761" cy="3200400"/>
          </a:xfrm>
        </p:spPr>
        <p:txBody>
          <a:bodyPr/>
          <a:lstStyle>
            <a:lvl1pPr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5F0BA6F-6DE8-E572-EE40-3F4DD00FCE86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09599" y="1938528"/>
            <a:ext cx="4556761" cy="500719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opic Title</a:t>
            </a:r>
          </a:p>
        </p:txBody>
      </p:sp>
    </p:spTree>
    <p:extLst>
      <p:ext uri="{BB962C8B-B14F-4D97-AF65-F5344CB8AC3E}">
        <p14:creationId xmlns:p14="http://schemas.microsoft.com/office/powerpoint/2010/main" val="16343485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12F828-00B6-F93C-47A4-98C1800A0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81D1BA-8734-C5D7-6DB7-CACF30CCB7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3E095E-8F06-6124-5855-CD25456E5F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00D1AF-46DD-4C79-A1D5-74258831387C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4D3CDC-A513-8A8E-AF5D-26B19233D7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CF88D9-CA5C-38DF-F779-066B83008D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E6CA6-941C-4361-9EC3-9B98B9D378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4121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 02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53427B2F-6A21-192B-1B7F-345925033D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291" t="28824" r="29453" b="1033"/>
          <a:stretch/>
        </p:blipFill>
        <p:spPr>
          <a:xfrm>
            <a:off x="5355170" y="-1"/>
            <a:ext cx="6836830" cy="66754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642123"/>
            <a:ext cx="5490879" cy="63649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EFFB91-635F-A1DD-2023-B4E4F9D515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642616"/>
            <a:ext cx="5490879" cy="3187816"/>
          </a:xfrm>
        </p:spPr>
        <p:txBody>
          <a:bodyPr>
            <a:noAutofit/>
          </a:bodyPr>
          <a:lstStyle>
            <a:lvl1pPr marL="285750" indent="-285750"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Char char="•"/>
              <a:defRPr sz="1800" b="0"/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/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/>
            </a:lvl4pPr>
            <a:lvl5pPr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 dirty="0"/>
              <a:t>Topic goes here</a:t>
            </a:r>
          </a:p>
          <a:p>
            <a:pPr lvl="1"/>
            <a:r>
              <a:rPr lang="en-US" dirty="0"/>
              <a:t>Sub-topic goes here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62FEE6E-D91A-AAEF-3DBE-92C78473E8F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09600" y="1938528"/>
            <a:ext cx="5486400" cy="500719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opic Title</a:t>
            </a:r>
          </a:p>
        </p:txBody>
      </p:sp>
    </p:spTree>
    <p:extLst>
      <p:ext uri="{BB962C8B-B14F-4D97-AF65-F5344CB8AC3E}">
        <p14:creationId xmlns:p14="http://schemas.microsoft.com/office/powerpoint/2010/main" val="119012156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121" y="1060704"/>
            <a:ext cx="4806516" cy="636494"/>
          </a:xfrm>
        </p:spPr>
        <p:txBody>
          <a:bodyPr/>
          <a:lstStyle>
            <a:lvl1pPr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ontent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F108A92-B4AA-DC22-DDB0-4A72F0B9A84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2" y="2121408"/>
            <a:ext cx="4799798" cy="3651863"/>
          </a:xfrm>
        </p:spPr>
        <p:txBody>
          <a:bodyPr>
            <a:noAutofit/>
          </a:bodyPr>
          <a:lstStyle>
            <a:lvl1pPr marL="285750" indent="-285750"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Char char="•"/>
              <a:defRPr sz="1800" b="0">
                <a:solidFill>
                  <a:schemeClr val="accent2"/>
                </a:solidFill>
              </a:defRPr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>
                <a:solidFill>
                  <a:schemeClr val="accent2"/>
                </a:solidFill>
              </a:defRPr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>
                <a:solidFill>
                  <a:schemeClr val="accent2"/>
                </a:solidFill>
              </a:defRPr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Topic goes here</a:t>
            </a:r>
          </a:p>
          <a:p>
            <a:pPr lvl="1"/>
            <a:r>
              <a:rPr lang="en-US" dirty="0"/>
              <a:t>Sub-topic goes here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993473E-2B47-0C6F-19ED-AA2C3FFC41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18844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121" y="1060704"/>
            <a:ext cx="4806516" cy="636494"/>
          </a:xfrm>
        </p:spPr>
        <p:txBody>
          <a:bodyPr/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ontent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F108A92-B4AA-DC22-DDB0-4A72F0B9A84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2" y="3063241"/>
            <a:ext cx="4799798" cy="276148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1pPr>
            <a:lvl2pPr marL="261938" indent="-2619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100">
                <a:solidFill>
                  <a:schemeClr val="accent1"/>
                </a:solidFill>
              </a:defRPr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100">
                <a:solidFill>
                  <a:schemeClr val="accent1"/>
                </a:solidFill>
              </a:defRPr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100">
                <a:solidFill>
                  <a:schemeClr val="accent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Add tab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3F17D64-9D3B-C833-73E0-0D513B6C323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020824"/>
            <a:ext cx="3637695" cy="500719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131D0A-A6D5-5B51-BEC3-B6297761E1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01596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88AD24B-4065-AB58-EB41-A2259242AB9C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7012538" y="195067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0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12538" y="2423342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7016434" y="422519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B548721-0354-3DFF-6E2E-F7DC118950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90426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pic>
        <p:nvPicPr>
          <p:cNvPr id="6" name="Picture 5" descr="A blue circular pattern with lines in the center&#10;&#10;Description automatically generated">
            <a:extLst>
              <a:ext uri="{FF2B5EF4-FFF2-40B4-BE49-F238E27FC236}">
                <a16:creationId xmlns:a16="http://schemas.microsoft.com/office/drawing/2014/main" id="{DFB4BEA2-1B52-A7CF-9977-948D59186C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832088" y="117088"/>
            <a:ext cx="6623824" cy="662382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FAE43A8-7D69-D8E8-8803-71173C89262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255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00AD87C-005A-684E-789F-DC17C92D41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6232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pic>
        <p:nvPicPr>
          <p:cNvPr id="6" name="Picture 5" descr="A blue circular pattern with lines in the center&#10;&#10;Description automatically generated">
            <a:extLst>
              <a:ext uri="{FF2B5EF4-FFF2-40B4-BE49-F238E27FC236}">
                <a16:creationId xmlns:a16="http://schemas.microsoft.com/office/drawing/2014/main" id="{DFB4BEA2-1B52-A7CF-9977-948D59186C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84088" y="117088"/>
            <a:ext cx="6623824" cy="6623824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14672" y="2651760"/>
            <a:ext cx="2962656" cy="1554480"/>
          </a:xfrm>
        </p:spPr>
        <p:txBody>
          <a:bodyPr anchor="ctr"/>
          <a:lstStyle>
            <a:lvl1pPr algn="ctr">
              <a:defRPr sz="2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56368DA-6188-6BE1-B9CE-CEB140471B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219329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F990B34-DCCC-0637-3A39-B888C31D72D7}"/>
              </a:ext>
            </a:extLst>
          </p:cNvPr>
          <p:cNvGrpSpPr/>
          <p:nvPr userDrawn="1"/>
        </p:nvGrpSpPr>
        <p:grpSpPr>
          <a:xfrm>
            <a:off x="5780124" y="351481"/>
            <a:ext cx="6127625" cy="6157860"/>
            <a:chOff x="5780124" y="351481"/>
            <a:chExt cx="6127625" cy="6157860"/>
          </a:xfrm>
        </p:grpSpPr>
        <p:pic>
          <p:nvPicPr>
            <p:cNvPr id="8" name="Picture 7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73A71B57-2416-0EE6-F643-5A3457CEBD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351481"/>
              <a:ext cx="1720011" cy="1739972"/>
            </a:xfrm>
            <a:prstGeom prst="rect">
              <a:avLst/>
            </a:prstGeom>
          </p:spPr>
        </p:pic>
        <p:pic>
          <p:nvPicPr>
            <p:cNvPr id="10" name="Picture 9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7F078736-AFAA-AC3C-51E0-43894B5E64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2560425"/>
              <a:ext cx="1720011" cy="1739972"/>
            </a:xfrm>
            <a:prstGeom prst="rect">
              <a:avLst/>
            </a:prstGeom>
          </p:spPr>
        </p:pic>
        <p:pic>
          <p:nvPicPr>
            <p:cNvPr id="11" name="Picture 10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33D5C7F0-BD5F-6743-C95C-A1DAE9FC9B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4769369"/>
              <a:ext cx="1720011" cy="1739972"/>
            </a:xfrm>
            <a:prstGeom prst="rect">
              <a:avLst/>
            </a:prstGeom>
          </p:spPr>
        </p:pic>
        <p:pic>
          <p:nvPicPr>
            <p:cNvPr id="12" name="Picture 11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D462BB83-2009-8BC4-28EC-B5F96452B5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351481"/>
              <a:ext cx="1720011" cy="1739972"/>
            </a:xfrm>
            <a:prstGeom prst="rect">
              <a:avLst/>
            </a:prstGeom>
          </p:spPr>
        </p:pic>
        <p:pic>
          <p:nvPicPr>
            <p:cNvPr id="13" name="Picture 12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505A66E2-8E5D-11DC-089C-507161ED8F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2560425"/>
              <a:ext cx="1720011" cy="1739972"/>
            </a:xfrm>
            <a:prstGeom prst="rect">
              <a:avLst/>
            </a:prstGeom>
          </p:spPr>
        </p:pic>
        <p:pic>
          <p:nvPicPr>
            <p:cNvPr id="14" name="Picture 13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08A401AD-93D0-49A9-EE74-376EB8517C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4769369"/>
              <a:ext cx="1720011" cy="1739972"/>
            </a:xfrm>
            <a:prstGeom prst="rect">
              <a:avLst/>
            </a:prstGeom>
          </p:spPr>
        </p:pic>
        <p:pic>
          <p:nvPicPr>
            <p:cNvPr id="15" name="Picture 14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5A1743CA-DFC0-C251-C271-BF787C74C3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351481"/>
              <a:ext cx="1720011" cy="1739972"/>
            </a:xfrm>
            <a:prstGeom prst="rect">
              <a:avLst/>
            </a:prstGeom>
          </p:spPr>
        </p:pic>
        <p:pic>
          <p:nvPicPr>
            <p:cNvPr id="16" name="Picture 15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26703AE7-3432-430B-8F0B-013571ECEB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2560425"/>
              <a:ext cx="1720011" cy="1739972"/>
            </a:xfrm>
            <a:prstGeom prst="rect">
              <a:avLst/>
            </a:prstGeom>
          </p:spPr>
        </p:pic>
        <p:pic>
          <p:nvPicPr>
            <p:cNvPr id="17" name="Picture 16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C2BE9E68-6658-7AB7-D401-28BF51195A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4769369"/>
              <a:ext cx="1720011" cy="1739972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F1C741-2459-B0EB-B696-D51B2770FDD4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255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74139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D75616-E1FA-6274-A4E4-AAB485146407}"/>
              </a:ext>
            </a:extLst>
          </p:cNvPr>
          <p:cNvGrpSpPr/>
          <p:nvPr userDrawn="1"/>
        </p:nvGrpSpPr>
        <p:grpSpPr>
          <a:xfrm>
            <a:off x="5758846" y="355955"/>
            <a:ext cx="6174573" cy="6153385"/>
            <a:chOff x="5758846" y="355955"/>
            <a:chExt cx="6174573" cy="6153385"/>
          </a:xfrm>
        </p:grpSpPr>
        <p:pic>
          <p:nvPicPr>
            <p:cNvPr id="6" name="Picture 5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AD0DD864-94A9-9EF5-1089-07D04E4C2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355955"/>
              <a:ext cx="1715588" cy="1735497"/>
            </a:xfrm>
            <a:prstGeom prst="rect">
              <a:avLst/>
            </a:prstGeom>
          </p:spPr>
        </p:pic>
        <p:pic>
          <p:nvPicPr>
            <p:cNvPr id="18" name="Picture 17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C42CBF60-482E-E42E-2502-459131822D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2564899"/>
              <a:ext cx="1715588" cy="1735497"/>
            </a:xfrm>
            <a:prstGeom prst="rect">
              <a:avLst/>
            </a:prstGeom>
          </p:spPr>
        </p:pic>
        <p:pic>
          <p:nvPicPr>
            <p:cNvPr id="19" name="Picture 18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42CB3768-444C-34F4-DAAA-C239D3BB14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4773843"/>
              <a:ext cx="1715588" cy="1735497"/>
            </a:xfrm>
            <a:prstGeom prst="rect">
              <a:avLst/>
            </a:prstGeom>
          </p:spPr>
        </p:pic>
        <p:pic>
          <p:nvPicPr>
            <p:cNvPr id="20" name="Picture 19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8AC1CE0B-C2CB-5E36-5A4E-C28212D909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355955"/>
              <a:ext cx="1715588" cy="1735497"/>
            </a:xfrm>
            <a:prstGeom prst="rect">
              <a:avLst/>
            </a:prstGeom>
          </p:spPr>
        </p:pic>
        <p:pic>
          <p:nvPicPr>
            <p:cNvPr id="21" name="Picture 20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66262E94-9A7F-D643-B3F9-A1FB24DB49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2564899"/>
              <a:ext cx="1715588" cy="1735497"/>
            </a:xfrm>
            <a:prstGeom prst="rect">
              <a:avLst/>
            </a:prstGeom>
          </p:spPr>
        </p:pic>
        <p:pic>
          <p:nvPicPr>
            <p:cNvPr id="22" name="Picture 21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2FBF6FA8-5D82-9460-508A-9AA3EB7E59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4773843"/>
              <a:ext cx="1715588" cy="1735497"/>
            </a:xfrm>
            <a:prstGeom prst="rect">
              <a:avLst/>
            </a:prstGeom>
          </p:spPr>
        </p:pic>
        <p:pic>
          <p:nvPicPr>
            <p:cNvPr id="23" name="Picture 22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A4D8ADEC-3BB6-D09B-E946-126C1A462D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355955"/>
              <a:ext cx="1715588" cy="1735497"/>
            </a:xfrm>
            <a:prstGeom prst="rect">
              <a:avLst/>
            </a:prstGeom>
          </p:spPr>
        </p:pic>
        <p:pic>
          <p:nvPicPr>
            <p:cNvPr id="24" name="Picture 23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C91554CB-ABB3-337E-B0B6-843EBE228F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2564899"/>
              <a:ext cx="1715588" cy="1735497"/>
            </a:xfrm>
            <a:prstGeom prst="rect">
              <a:avLst/>
            </a:prstGeom>
          </p:spPr>
        </p:pic>
        <p:pic>
          <p:nvPicPr>
            <p:cNvPr id="25" name="Picture 24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FDA5056B-4BB4-96C9-5431-A9BEE9D0D1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4773843"/>
              <a:ext cx="1715588" cy="1735497"/>
            </a:xfrm>
            <a:prstGeom prst="rect">
              <a:avLst/>
            </a:prstGeom>
          </p:spPr>
        </p:pic>
      </p:grp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D28366-4C6B-15F1-2EC8-23DEC891C15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255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99974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4612463-897C-3480-2C0B-54B482310469}"/>
              </a:ext>
            </a:extLst>
          </p:cNvPr>
          <p:cNvGrpSpPr/>
          <p:nvPr userDrawn="1"/>
        </p:nvGrpSpPr>
        <p:grpSpPr>
          <a:xfrm>
            <a:off x="5763852" y="335015"/>
            <a:ext cx="6172051" cy="6190563"/>
            <a:chOff x="5763852" y="335015"/>
            <a:chExt cx="6172051" cy="6190563"/>
          </a:xfrm>
        </p:grpSpPr>
        <p:pic>
          <p:nvPicPr>
            <p:cNvPr id="6" name="Picture 5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9C9C109-2747-22A3-A27D-44D4E6B66F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335015"/>
              <a:ext cx="1733615" cy="1752127"/>
            </a:xfrm>
            <a:prstGeom prst="rect">
              <a:avLst/>
            </a:prstGeom>
          </p:spPr>
        </p:pic>
        <p:pic>
          <p:nvPicPr>
            <p:cNvPr id="18" name="Picture 17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EE0128AE-700F-0194-7F7B-0D1708E084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2554233"/>
              <a:ext cx="1733615" cy="1752127"/>
            </a:xfrm>
            <a:prstGeom prst="rect">
              <a:avLst/>
            </a:prstGeom>
          </p:spPr>
        </p:pic>
        <p:pic>
          <p:nvPicPr>
            <p:cNvPr id="19" name="Picture 18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323343E7-ACC5-9B5B-DCC4-D62B19AD66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4773451"/>
              <a:ext cx="1733615" cy="1752127"/>
            </a:xfrm>
            <a:prstGeom prst="rect">
              <a:avLst/>
            </a:prstGeom>
          </p:spPr>
        </p:pic>
        <p:pic>
          <p:nvPicPr>
            <p:cNvPr id="20" name="Picture 19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ECF17C9E-40C9-A1B2-921B-A117E1445B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335015"/>
              <a:ext cx="1733615" cy="1752127"/>
            </a:xfrm>
            <a:prstGeom prst="rect">
              <a:avLst/>
            </a:prstGeom>
          </p:spPr>
        </p:pic>
        <p:pic>
          <p:nvPicPr>
            <p:cNvPr id="21" name="Picture 20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62D3AD15-40FB-E0AE-E3FD-E92E188E96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2554233"/>
              <a:ext cx="1733615" cy="1752127"/>
            </a:xfrm>
            <a:prstGeom prst="rect">
              <a:avLst/>
            </a:prstGeom>
          </p:spPr>
        </p:pic>
        <p:pic>
          <p:nvPicPr>
            <p:cNvPr id="22" name="Picture 21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B7CF3F1F-9F91-CF4A-FF07-FA15A22A9A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4773451"/>
              <a:ext cx="1733615" cy="1752127"/>
            </a:xfrm>
            <a:prstGeom prst="rect">
              <a:avLst/>
            </a:prstGeom>
          </p:spPr>
        </p:pic>
        <p:pic>
          <p:nvPicPr>
            <p:cNvPr id="23" name="Picture 22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D010AA3-929E-77D1-8103-2E11D2AEDB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335015"/>
              <a:ext cx="1733615" cy="1752127"/>
            </a:xfrm>
            <a:prstGeom prst="rect">
              <a:avLst/>
            </a:prstGeom>
          </p:spPr>
        </p:pic>
        <p:pic>
          <p:nvPicPr>
            <p:cNvPr id="24" name="Picture 23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281E6B5-D294-8C31-06F4-403B03B0CF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2554233"/>
              <a:ext cx="1733615" cy="1752127"/>
            </a:xfrm>
            <a:prstGeom prst="rect">
              <a:avLst/>
            </a:prstGeom>
          </p:spPr>
        </p:pic>
        <p:pic>
          <p:nvPicPr>
            <p:cNvPr id="25" name="Picture 24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DA0AFAAB-A69C-360D-13B4-236DA86E41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4773451"/>
              <a:ext cx="1733615" cy="1752127"/>
            </a:xfrm>
            <a:prstGeom prst="rect">
              <a:avLst/>
            </a:prstGeom>
          </p:spPr>
        </p:pic>
      </p:grp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F652F3F-B68F-070A-0393-A10B967801F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255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886298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F717E2-4C55-360C-9F54-BFC432B482D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F990B34-DCCC-0637-3A39-B888C31D72D7}"/>
              </a:ext>
            </a:extLst>
          </p:cNvPr>
          <p:cNvGrpSpPr/>
          <p:nvPr userDrawn="1"/>
        </p:nvGrpSpPr>
        <p:grpSpPr>
          <a:xfrm>
            <a:off x="5780124" y="351481"/>
            <a:ext cx="6127625" cy="6157860"/>
            <a:chOff x="5780124" y="351481"/>
            <a:chExt cx="6127625" cy="6157860"/>
          </a:xfrm>
        </p:grpSpPr>
        <p:pic>
          <p:nvPicPr>
            <p:cNvPr id="8" name="Picture 7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73A71B57-2416-0EE6-F643-5A3457CEBD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351481"/>
              <a:ext cx="1720011" cy="1739972"/>
            </a:xfrm>
            <a:prstGeom prst="rect">
              <a:avLst/>
            </a:prstGeom>
          </p:spPr>
        </p:pic>
        <p:pic>
          <p:nvPicPr>
            <p:cNvPr id="10" name="Picture 9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7F078736-AFAA-AC3C-51E0-43894B5E64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2560425"/>
              <a:ext cx="1720011" cy="1739972"/>
            </a:xfrm>
            <a:prstGeom prst="rect">
              <a:avLst/>
            </a:prstGeom>
          </p:spPr>
        </p:pic>
        <p:pic>
          <p:nvPicPr>
            <p:cNvPr id="11" name="Picture 10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33D5C7F0-BD5F-6743-C95C-A1DAE9FC9B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4769369"/>
              <a:ext cx="1720011" cy="1739972"/>
            </a:xfrm>
            <a:prstGeom prst="rect">
              <a:avLst/>
            </a:prstGeom>
          </p:spPr>
        </p:pic>
        <p:pic>
          <p:nvPicPr>
            <p:cNvPr id="12" name="Picture 11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D462BB83-2009-8BC4-28EC-B5F96452B5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351481"/>
              <a:ext cx="1720011" cy="1739972"/>
            </a:xfrm>
            <a:prstGeom prst="rect">
              <a:avLst/>
            </a:prstGeom>
          </p:spPr>
        </p:pic>
        <p:pic>
          <p:nvPicPr>
            <p:cNvPr id="13" name="Picture 12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505A66E2-8E5D-11DC-089C-507161ED8F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2560425"/>
              <a:ext cx="1720011" cy="1739972"/>
            </a:xfrm>
            <a:prstGeom prst="rect">
              <a:avLst/>
            </a:prstGeom>
          </p:spPr>
        </p:pic>
        <p:pic>
          <p:nvPicPr>
            <p:cNvPr id="14" name="Picture 13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08A401AD-93D0-49A9-EE74-376EB8517C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4769369"/>
              <a:ext cx="1720011" cy="1739972"/>
            </a:xfrm>
            <a:prstGeom prst="rect">
              <a:avLst/>
            </a:prstGeom>
          </p:spPr>
        </p:pic>
        <p:pic>
          <p:nvPicPr>
            <p:cNvPr id="15" name="Picture 14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5A1743CA-DFC0-C251-C271-BF787C74C3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351481"/>
              <a:ext cx="1720011" cy="1739972"/>
            </a:xfrm>
            <a:prstGeom prst="rect">
              <a:avLst/>
            </a:prstGeom>
          </p:spPr>
        </p:pic>
        <p:pic>
          <p:nvPicPr>
            <p:cNvPr id="16" name="Picture 15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26703AE7-3432-430B-8F0B-013571ECEB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2560425"/>
              <a:ext cx="1720011" cy="1739972"/>
            </a:xfrm>
            <a:prstGeom prst="rect">
              <a:avLst/>
            </a:prstGeom>
          </p:spPr>
        </p:pic>
        <p:pic>
          <p:nvPicPr>
            <p:cNvPr id="17" name="Picture 16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C2BE9E68-6658-7AB7-D401-28BF51195A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4769369"/>
              <a:ext cx="1720011" cy="1739972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7541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355E18-F768-7535-639D-E2C1926EA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C9620E-109B-C6EB-011B-CFB436F54C5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9398640-9B2B-F70E-095A-ED3C85E274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920D8E-8FCD-A824-391B-6BA97563C9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00D1AF-46DD-4C79-A1D5-74258831387C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8F5169-6C4B-CA63-7EF4-3C0C9EB60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3FECF5-0D2C-D30D-5C34-12A56E3D62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E6CA6-941C-4361-9EC3-9B98B9D378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31464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D75616-E1FA-6274-A4E4-AAB485146407}"/>
              </a:ext>
            </a:extLst>
          </p:cNvPr>
          <p:cNvGrpSpPr/>
          <p:nvPr userDrawn="1"/>
        </p:nvGrpSpPr>
        <p:grpSpPr>
          <a:xfrm>
            <a:off x="5758846" y="355955"/>
            <a:ext cx="6174573" cy="6153385"/>
            <a:chOff x="5758846" y="355955"/>
            <a:chExt cx="6174573" cy="6153385"/>
          </a:xfrm>
        </p:grpSpPr>
        <p:pic>
          <p:nvPicPr>
            <p:cNvPr id="6" name="Picture 5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AD0DD864-94A9-9EF5-1089-07D04E4C2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355955"/>
              <a:ext cx="1715588" cy="1735497"/>
            </a:xfrm>
            <a:prstGeom prst="rect">
              <a:avLst/>
            </a:prstGeom>
          </p:spPr>
        </p:pic>
        <p:pic>
          <p:nvPicPr>
            <p:cNvPr id="18" name="Picture 17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C42CBF60-482E-E42E-2502-459131822D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2564899"/>
              <a:ext cx="1715588" cy="1735497"/>
            </a:xfrm>
            <a:prstGeom prst="rect">
              <a:avLst/>
            </a:prstGeom>
          </p:spPr>
        </p:pic>
        <p:pic>
          <p:nvPicPr>
            <p:cNvPr id="19" name="Picture 18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42CB3768-444C-34F4-DAAA-C239D3BB14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4773843"/>
              <a:ext cx="1715588" cy="1735497"/>
            </a:xfrm>
            <a:prstGeom prst="rect">
              <a:avLst/>
            </a:prstGeom>
          </p:spPr>
        </p:pic>
        <p:pic>
          <p:nvPicPr>
            <p:cNvPr id="20" name="Picture 19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8AC1CE0B-C2CB-5E36-5A4E-C28212D909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355955"/>
              <a:ext cx="1715588" cy="1735497"/>
            </a:xfrm>
            <a:prstGeom prst="rect">
              <a:avLst/>
            </a:prstGeom>
          </p:spPr>
        </p:pic>
        <p:pic>
          <p:nvPicPr>
            <p:cNvPr id="21" name="Picture 20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66262E94-9A7F-D643-B3F9-A1FB24DB49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2564899"/>
              <a:ext cx="1715588" cy="1735497"/>
            </a:xfrm>
            <a:prstGeom prst="rect">
              <a:avLst/>
            </a:prstGeom>
          </p:spPr>
        </p:pic>
        <p:pic>
          <p:nvPicPr>
            <p:cNvPr id="22" name="Picture 21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2FBF6FA8-5D82-9460-508A-9AA3EB7E59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4773843"/>
              <a:ext cx="1715588" cy="1735497"/>
            </a:xfrm>
            <a:prstGeom prst="rect">
              <a:avLst/>
            </a:prstGeom>
          </p:spPr>
        </p:pic>
        <p:pic>
          <p:nvPicPr>
            <p:cNvPr id="23" name="Picture 22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A4D8ADEC-3BB6-D09B-E946-126C1A462D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355955"/>
              <a:ext cx="1715588" cy="1735497"/>
            </a:xfrm>
            <a:prstGeom prst="rect">
              <a:avLst/>
            </a:prstGeom>
          </p:spPr>
        </p:pic>
        <p:pic>
          <p:nvPicPr>
            <p:cNvPr id="24" name="Picture 23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C91554CB-ABB3-337E-B0B6-843EBE228F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2564899"/>
              <a:ext cx="1715588" cy="1735497"/>
            </a:xfrm>
            <a:prstGeom prst="rect">
              <a:avLst/>
            </a:prstGeom>
          </p:spPr>
        </p:pic>
        <p:pic>
          <p:nvPicPr>
            <p:cNvPr id="25" name="Picture 24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FDA5056B-4BB4-96C9-5431-A9BEE9D0D1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4773843"/>
              <a:ext cx="1715588" cy="1735497"/>
            </a:xfrm>
            <a:prstGeom prst="rect">
              <a:avLst/>
            </a:prstGeom>
          </p:spPr>
        </p:pic>
      </p:grp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DE6DA1B-09AD-6211-A6CB-0278735C7A7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39425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4612463-897C-3480-2C0B-54B482310469}"/>
              </a:ext>
            </a:extLst>
          </p:cNvPr>
          <p:cNvGrpSpPr/>
          <p:nvPr userDrawn="1"/>
        </p:nvGrpSpPr>
        <p:grpSpPr>
          <a:xfrm>
            <a:off x="5763852" y="335015"/>
            <a:ext cx="6172051" cy="6190563"/>
            <a:chOff x="5763852" y="335015"/>
            <a:chExt cx="6172051" cy="6190563"/>
          </a:xfrm>
        </p:grpSpPr>
        <p:pic>
          <p:nvPicPr>
            <p:cNvPr id="6" name="Picture 5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9C9C109-2747-22A3-A27D-44D4E6B66F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335015"/>
              <a:ext cx="1733615" cy="1752127"/>
            </a:xfrm>
            <a:prstGeom prst="rect">
              <a:avLst/>
            </a:prstGeom>
          </p:spPr>
        </p:pic>
        <p:pic>
          <p:nvPicPr>
            <p:cNvPr id="18" name="Picture 17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EE0128AE-700F-0194-7F7B-0D1708E084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2554233"/>
              <a:ext cx="1733615" cy="1752127"/>
            </a:xfrm>
            <a:prstGeom prst="rect">
              <a:avLst/>
            </a:prstGeom>
          </p:spPr>
        </p:pic>
        <p:pic>
          <p:nvPicPr>
            <p:cNvPr id="19" name="Picture 18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323343E7-ACC5-9B5B-DCC4-D62B19AD66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4773451"/>
              <a:ext cx="1733615" cy="1752127"/>
            </a:xfrm>
            <a:prstGeom prst="rect">
              <a:avLst/>
            </a:prstGeom>
          </p:spPr>
        </p:pic>
        <p:pic>
          <p:nvPicPr>
            <p:cNvPr id="20" name="Picture 19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ECF17C9E-40C9-A1B2-921B-A117E1445B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335015"/>
              <a:ext cx="1733615" cy="1752127"/>
            </a:xfrm>
            <a:prstGeom prst="rect">
              <a:avLst/>
            </a:prstGeom>
          </p:spPr>
        </p:pic>
        <p:pic>
          <p:nvPicPr>
            <p:cNvPr id="21" name="Picture 20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62D3AD15-40FB-E0AE-E3FD-E92E188E96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2554233"/>
              <a:ext cx="1733615" cy="1752127"/>
            </a:xfrm>
            <a:prstGeom prst="rect">
              <a:avLst/>
            </a:prstGeom>
          </p:spPr>
        </p:pic>
        <p:pic>
          <p:nvPicPr>
            <p:cNvPr id="22" name="Picture 21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B7CF3F1F-9F91-CF4A-FF07-FA15A22A9A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4773451"/>
              <a:ext cx="1733615" cy="1752127"/>
            </a:xfrm>
            <a:prstGeom prst="rect">
              <a:avLst/>
            </a:prstGeom>
          </p:spPr>
        </p:pic>
        <p:pic>
          <p:nvPicPr>
            <p:cNvPr id="23" name="Picture 22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D010AA3-929E-77D1-8103-2E11D2AEDB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335015"/>
              <a:ext cx="1733615" cy="1752127"/>
            </a:xfrm>
            <a:prstGeom prst="rect">
              <a:avLst/>
            </a:prstGeom>
          </p:spPr>
        </p:pic>
        <p:pic>
          <p:nvPicPr>
            <p:cNvPr id="24" name="Picture 23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281E6B5-D294-8C31-06F4-403B03B0CF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2554233"/>
              <a:ext cx="1733615" cy="1752127"/>
            </a:xfrm>
            <a:prstGeom prst="rect">
              <a:avLst/>
            </a:prstGeom>
          </p:spPr>
        </p:pic>
        <p:pic>
          <p:nvPicPr>
            <p:cNvPr id="25" name="Picture 24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DA0AFAAB-A69C-360D-13B4-236DA86E41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4773451"/>
              <a:ext cx="1733615" cy="1752127"/>
            </a:xfrm>
            <a:prstGeom prst="rect">
              <a:avLst/>
            </a:prstGeom>
          </p:spPr>
        </p:pic>
      </p:grp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0E2453-DB81-82A4-3405-D5E14BB626E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26746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C2EA1BC-C3E9-D292-42C8-6CAE7C52E5A9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025786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2" y="2121408"/>
            <a:ext cx="5026134" cy="3334871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F604C80-71EC-3473-950A-1A6AE22E15D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3429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6AC415D-AFB5-FB32-4D7B-F7DB70BC80A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739128" y="4315969"/>
            <a:ext cx="2423160" cy="185623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spcBef>
                <a:spcPts val="700"/>
              </a:spcBef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F172E9-66E9-2F98-1B98-6976F7AC77D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573768" y="4315969"/>
            <a:ext cx="2008632" cy="185623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spcBef>
                <a:spcPts val="700"/>
              </a:spcBef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2B1228E4-8377-6E68-3D10-D550A75C2B2F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672505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490878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2" y="2084832"/>
            <a:ext cx="3127248" cy="1753475"/>
          </a:xfrm>
        </p:spPr>
        <p:txBody>
          <a:bodyPr/>
          <a:lstStyle>
            <a:lvl1pPr>
              <a:defRPr sz="3600" b="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2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pic>
        <p:nvPicPr>
          <p:cNvPr id="4" name="Picture 3" descr="A pattern of blue circles&#10;&#10;Description automatically generated">
            <a:extLst>
              <a:ext uri="{FF2B5EF4-FFF2-40B4-BE49-F238E27FC236}">
                <a16:creationId xmlns:a16="http://schemas.microsoft.com/office/drawing/2014/main" id="{399FE45F-0BCA-FC9E-A383-FEE0CCF44A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" r="48001"/>
          <a:stretch/>
        </p:blipFill>
        <p:spPr>
          <a:xfrm>
            <a:off x="8969249" y="0"/>
            <a:ext cx="3222751" cy="6858000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DF3524F-ADB9-5EB7-841A-A2297D3830C9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05122" y="3941064"/>
            <a:ext cx="3127248" cy="1753475"/>
          </a:xfrm>
        </p:spPr>
        <p:txBody>
          <a:bodyPr/>
          <a:lstStyle>
            <a:lvl1pPr>
              <a:defRPr sz="3600" b="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2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643888B-3D0A-A12B-2C3F-3CD26A3FFAA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15968" y="2084832"/>
            <a:ext cx="3127248" cy="1753475"/>
          </a:xfrm>
        </p:spPr>
        <p:txBody>
          <a:bodyPr/>
          <a:lstStyle>
            <a:lvl1pPr>
              <a:defRPr sz="3600" b="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2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C859D8D-0525-93EA-1323-6E608B1CE627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15968" y="3941064"/>
            <a:ext cx="3127248" cy="1753475"/>
          </a:xfrm>
        </p:spPr>
        <p:txBody>
          <a:bodyPr/>
          <a:lstStyle>
            <a:lvl1pPr>
              <a:defRPr sz="3600" b="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2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7C246B3-A122-2C67-A52A-6FFA2D84FCC7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286682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490878" cy="6364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2" y="2084832"/>
            <a:ext cx="3127248" cy="1753475"/>
          </a:xfrm>
        </p:spPr>
        <p:txBody>
          <a:bodyPr/>
          <a:lstStyle>
            <a:lvl1pPr>
              <a:spcBef>
                <a:spcPts val="1000"/>
              </a:spcBef>
              <a:defRPr sz="3600" b="0">
                <a:solidFill>
                  <a:schemeClr val="accent3"/>
                </a:solidFill>
              </a:defRPr>
            </a:lvl1pPr>
            <a:lvl2pPr>
              <a:spcBef>
                <a:spcPts val="1000"/>
              </a:spcBef>
              <a:spcAft>
                <a:spcPts val="0"/>
              </a:spcAft>
              <a:defRPr sz="1200" b="1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200">
                <a:solidFill>
                  <a:schemeClr val="accent1"/>
                </a:solidFill>
              </a:defRPr>
            </a:lvl3pPr>
            <a:lvl4pPr marL="233363" indent="-225425">
              <a:tabLst/>
              <a:defRPr sz="1200">
                <a:solidFill>
                  <a:schemeClr val="accent1"/>
                </a:solidFill>
              </a:defRPr>
            </a:lvl4pPr>
            <a:lvl5pPr marL="233363" indent="0">
              <a:tabLst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pic>
        <p:nvPicPr>
          <p:cNvPr id="4" name="Picture 3" descr="A pattern of blue circles&#10;&#10;Description automatically generated">
            <a:extLst>
              <a:ext uri="{FF2B5EF4-FFF2-40B4-BE49-F238E27FC236}">
                <a16:creationId xmlns:a16="http://schemas.microsoft.com/office/drawing/2014/main" id="{399FE45F-0BCA-FC9E-A383-FEE0CCF44A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" r="48001"/>
          <a:stretch/>
        </p:blipFill>
        <p:spPr>
          <a:xfrm>
            <a:off x="8969249" y="0"/>
            <a:ext cx="3222751" cy="6858000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0A2C275-350A-2BF9-CB81-7E8AB07E777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05122" y="4407408"/>
            <a:ext cx="3127248" cy="1753475"/>
          </a:xfrm>
        </p:spPr>
        <p:txBody>
          <a:bodyPr/>
          <a:lstStyle>
            <a:lvl1pPr>
              <a:spcBef>
                <a:spcPts val="1000"/>
              </a:spcBef>
              <a:defRPr sz="3600" b="0">
                <a:solidFill>
                  <a:schemeClr val="accent3"/>
                </a:solidFill>
              </a:defRPr>
            </a:lvl1pPr>
            <a:lvl2pPr>
              <a:spcBef>
                <a:spcPts val="1000"/>
              </a:spcBef>
              <a:spcAft>
                <a:spcPts val="0"/>
              </a:spcAft>
              <a:defRPr sz="1200" b="1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200">
                <a:solidFill>
                  <a:schemeClr val="accent1"/>
                </a:solidFill>
              </a:defRPr>
            </a:lvl3pPr>
            <a:lvl4pPr marL="233363" indent="-225425">
              <a:tabLst/>
              <a:defRPr sz="1200">
                <a:solidFill>
                  <a:schemeClr val="accent1"/>
                </a:solidFill>
              </a:defRPr>
            </a:lvl4pPr>
            <a:lvl5pPr marL="233363" indent="0">
              <a:tabLst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4C163C0-0F5B-5F76-E6E9-DA947DA50F6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315968" y="2084832"/>
            <a:ext cx="3127248" cy="1753475"/>
          </a:xfrm>
        </p:spPr>
        <p:txBody>
          <a:bodyPr/>
          <a:lstStyle>
            <a:lvl1pPr>
              <a:spcBef>
                <a:spcPts val="1000"/>
              </a:spcBef>
              <a:defRPr sz="3600" b="0">
                <a:solidFill>
                  <a:schemeClr val="accent3"/>
                </a:solidFill>
              </a:defRPr>
            </a:lvl1pPr>
            <a:lvl2pPr>
              <a:spcBef>
                <a:spcPts val="1000"/>
              </a:spcBef>
              <a:spcAft>
                <a:spcPts val="0"/>
              </a:spcAft>
              <a:defRPr sz="1200" b="1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200">
                <a:solidFill>
                  <a:schemeClr val="accent1"/>
                </a:solidFill>
              </a:defRPr>
            </a:lvl3pPr>
            <a:lvl4pPr marL="233363" indent="-225425">
              <a:tabLst/>
              <a:defRPr sz="1200">
                <a:solidFill>
                  <a:schemeClr val="accent1"/>
                </a:solidFill>
              </a:defRPr>
            </a:lvl4pPr>
            <a:lvl5pPr marL="233363" indent="0">
              <a:tabLst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7F454EB-969E-695D-5173-002A800FC683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315968" y="4407408"/>
            <a:ext cx="3127248" cy="1753475"/>
          </a:xfrm>
        </p:spPr>
        <p:txBody>
          <a:bodyPr/>
          <a:lstStyle>
            <a:lvl1pPr>
              <a:spcBef>
                <a:spcPts val="1000"/>
              </a:spcBef>
              <a:defRPr sz="3600" b="0">
                <a:solidFill>
                  <a:schemeClr val="accent3"/>
                </a:solidFill>
              </a:defRPr>
            </a:lvl1pPr>
            <a:lvl2pPr>
              <a:spcBef>
                <a:spcPts val="1000"/>
              </a:spcBef>
              <a:spcAft>
                <a:spcPts val="0"/>
              </a:spcAft>
              <a:defRPr sz="1200" b="1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200">
                <a:solidFill>
                  <a:schemeClr val="accent1"/>
                </a:solidFill>
              </a:defRPr>
            </a:lvl3pPr>
            <a:lvl4pPr marL="233363" indent="-225425">
              <a:tabLst/>
              <a:defRPr sz="1200">
                <a:solidFill>
                  <a:schemeClr val="accent1"/>
                </a:solidFill>
              </a:defRPr>
            </a:lvl4pPr>
            <a:lvl5pPr marL="233363" indent="0">
              <a:tabLst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B6D5804-1B6C-EBCD-B26D-AE39D7A1283D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79009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C2EA1BC-C3E9-D292-42C8-6CAE7C52E5A9}"/>
              </a:ext>
            </a:extLst>
          </p:cNvPr>
          <p:cNvSpPr/>
          <p:nvPr userDrawn="1"/>
        </p:nvSpPr>
        <p:spPr>
          <a:xfrm>
            <a:off x="0" y="0"/>
            <a:ext cx="8501204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025786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2" y="2578609"/>
            <a:ext cx="3383280" cy="3192758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 marL="233363" indent="0">
              <a:tabLst/>
              <a:defRPr sz="1800" b="0">
                <a:solidFill>
                  <a:schemeClr val="accent2"/>
                </a:solidFill>
              </a:defRPr>
            </a:lvl2pPr>
            <a:lvl3pPr marL="458788" indent="-225425">
              <a:tabLst/>
              <a:defRPr sz="1800" b="0">
                <a:solidFill>
                  <a:schemeClr val="accent2"/>
                </a:solidFill>
              </a:defRPr>
            </a:lvl3pPr>
            <a:lvl4pPr>
              <a:defRPr sz="1800" b="0">
                <a:solidFill>
                  <a:schemeClr val="accent2"/>
                </a:solidFill>
              </a:defRPr>
            </a:lvl4pPr>
            <a:lvl5pPr>
              <a:defRPr sz="18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F604C80-71EC-3473-950A-1A6AE22E15D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10256" y="2534971"/>
            <a:ext cx="3681743" cy="432303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6AC415D-AFB5-FB32-4D7B-F7DB70BC80A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51960" y="2578608"/>
            <a:ext cx="3383280" cy="319750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dirty="0">
                <a:solidFill>
                  <a:schemeClr val="accent2"/>
                </a:solidFill>
              </a:defRPr>
            </a:lvl1pPr>
            <a:lvl2pPr marL="179388" indent="0">
              <a:tabLst/>
              <a:defRPr lang="en-US" sz="1800" b="0" dirty="0">
                <a:solidFill>
                  <a:schemeClr val="accent2"/>
                </a:solidFill>
              </a:defRPr>
            </a:lvl2pPr>
            <a:lvl3pPr marL="350838" indent="-225425">
              <a:tabLst/>
              <a:defRPr lang="en-US" sz="1800" b="0" dirty="0">
                <a:solidFill>
                  <a:schemeClr val="accent2"/>
                </a:solidFill>
              </a:defRPr>
            </a:lvl3pPr>
            <a:lvl4pPr>
              <a:defRPr lang="en-US" sz="1800" b="0" dirty="0">
                <a:solidFill>
                  <a:schemeClr val="accent2"/>
                </a:solidFill>
              </a:defRPr>
            </a:lvl4pPr>
            <a:lvl5pPr>
              <a:defRPr lang="en-US" sz="1800" b="0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F172E9-66E9-2F98-1B98-6976F7AC77D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6840" y="1289304"/>
            <a:ext cx="2916574" cy="1091757"/>
          </a:xfrm>
        </p:spPr>
        <p:txBody>
          <a:bodyPr/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939585E-3C26-5EB5-A41A-DEECE694EE1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7036004" cy="50071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4F76D2A-5A5E-8755-0879-B729A3A7E693}"/>
              </a:ext>
            </a:extLst>
          </p:cNvPr>
          <p:cNvSpPr txBox="1"/>
          <p:nvPr userDrawn="1"/>
        </p:nvSpPr>
        <p:spPr>
          <a:xfrm>
            <a:off x="8894253" y="716770"/>
            <a:ext cx="5309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endParaRPr lang="en-US" sz="5400" dirty="0">
              <a:solidFill>
                <a:schemeClr val="accent3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CE7F670-5779-2D85-ABED-6B3627E548E4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209498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C2EA1BC-C3E9-D292-42C8-6CAE7C52E5A9}"/>
              </a:ext>
            </a:extLst>
          </p:cNvPr>
          <p:cNvSpPr/>
          <p:nvPr userDrawn="1"/>
        </p:nvSpPr>
        <p:spPr>
          <a:xfrm>
            <a:off x="8506968" y="0"/>
            <a:ext cx="368503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025786" cy="6364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2" y="2578609"/>
            <a:ext cx="3383280" cy="3192758"/>
          </a:xfrm>
        </p:spPr>
        <p:txBody>
          <a:bodyPr/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F604C80-71EC-3473-950A-1A6AE22E15D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10257" y="2534971"/>
            <a:ext cx="3681743" cy="432303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6AC415D-AFB5-FB32-4D7B-F7DB70BC80A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51960" y="2578608"/>
            <a:ext cx="3383280" cy="319750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1" dirty="0">
                <a:solidFill>
                  <a:schemeClr val="accent1"/>
                </a:solidFill>
              </a:defRPr>
            </a:lvl1pPr>
            <a:lvl2pPr>
              <a:defRPr lang="en-US" sz="1400" dirty="0">
                <a:solidFill>
                  <a:schemeClr val="accent1"/>
                </a:solidFill>
              </a:defRPr>
            </a:lvl2pPr>
            <a:lvl3pPr>
              <a:defRPr lang="en-US" sz="1400" dirty="0">
                <a:solidFill>
                  <a:schemeClr val="accent1"/>
                </a:solidFill>
              </a:defRPr>
            </a:lvl3pPr>
            <a:lvl4pPr>
              <a:defRPr lang="en-US" sz="1400" dirty="0">
                <a:solidFill>
                  <a:schemeClr val="accent1"/>
                </a:solidFill>
              </a:defRPr>
            </a:lvl4pPr>
            <a:lvl5pPr>
              <a:defRPr lang="en-US" sz="1400" dirty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F172E9-66E9-2F98-1B98-6976F7AC77D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6840" y="1289304"/>
            <a:ext cx="2916574" cy="1091757"/>
          </a:xfr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  <a:lvl2pPr>
              <a:defRPr sz="1200">
                <a:solidFill>
                  <a:schemeClr val="accent2"/>
                </a:solidFill>
              </a:defRPr>
            </a:lvl2pPr>
            <a:lvl3pPr>
              <a:defRPr sz="12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939585E-3C26-5EB5-A41A-DEECE694EE1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7036004" cy="50071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4F76D2A-5A5E-8755-0879-B729A3A7E693}"/>
              </a:ext>
            </a:extLst>
          </p:cNvPr>
          <p:cNvSpPr txBox="1"/>
          <p:nvPr userDrawn="1"/>
        </p:nvSpPr>
        <p:spPr>
          <a:xfrm>
            <a:off x="8894253" y="716770"/>
            <a:ext cx="5309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endParaRPr lang="en-US" sz="5400" dirty="0">
              <a:solidFill>
                <a:schemeClr val="accent3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014DBAA-69D2-AFA3-2DF4-C93601325569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835124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025786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1" y="2578609"/>
            <a:ext cx="5026133" cy="3192758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 marL="233363" indent="0">
              <a:tabLst/>
              <a:defRPr sz="1800" b="0">
                <a:solidFill>
                  <a:schemeClr val="accent2"/>
                </a:solidFill>
              </a:defRPr>
            </a:lvl2pPr>
            <a:lvl3pPr marL="458788" indent="-225425">
              <a:tabLst/>
              <a:defRPr sz="1800" b="0">
                <a:solidFill>
                  <a:schemeClr val="accent2"/>
                </a:solidFill>
              </a:defRPr>
            </a:lvl3pPr>
            <a:lvl4pPr>
              <a:defRPr sz="1800" b="0">
                <a:solidFill>
                  <a:schemeClr val="accent2"/>
                </a:solidFill>
              </a:defRPr>
            </a:lvl4pPr>
            <a:lvl5pPr>
              <a:defRPr sz="18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939585E-3C26-5EB5-A41A-DEECE694EE1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5026134" cy="50071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 descr="A blue and black circular pattern&#10;&#10;Description automatically generated">
            <a:extLst>
              <a:ext uri="{FF2B5EF4-FFF2-40B4-BE49-F238E27FC236}">
                <a16:creationId xmlns:a16="http://schemas.microsoft.com/office/drawing/2014/main" id="{D77116FA-59E4-9678-35EA-2DD825686E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1768" b="18271"/>
          <a:stretch/>
        </p:blipFill>
        <p:spPr>
          <a:xfrm>
            <a:off x="6096000" y="1253066"/>
            <a:ext cx="6096000" cy="5604934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F514533-C94F-8609-93A6-A19790A94DC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7690634-037A-6A64-D161-5D5869497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67805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ue and black circular pattern&#10;&#10;Description automatically generated">
            <a:extLst>
              <a:ext uri="{FF2B5EF4-FFF2-40B4-BE49-F238E27FC236}">
                <a16:creationId xmlns:a16="http://schemas.microsoft.com/office/drawing/2014/main" id="{C23E17BE-2E48-0935-4279-C10DB90E51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1768" b="18271"/>
          <a:stretch/>
        </p:blipFill>
        <p:spPr>
          <a:xfrm>
            <a:off x="6096000" y="1253066"/>
            <a:ext cx="6096000" cy="560493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025786" cy="6364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1" y="2578609"/>
            <a:ext cx="5026133" cy="3192758"/>
          </a:xfrm>
        </p:spPr>
        <p:txBody>
          <a:bodyPr/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939585E-3C26-5EB5-A41A-DEECE694EE1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5026134" cy="50071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9468717-5522-4DB6-361A-E875ABE8CCBC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BBEADF4-725C-3FBB-E8F0-DD9218B3C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42109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00792" y="3720973"/>
            <a:ext cx="2981608" cy="2451227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4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D3DD303-98F8-790E-26F4-58B3AE82A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A blue and black circular pattern&#10;&#10;Description automatically generated">
            <a:extLst>
              <a:ext uri="{FF2B5EF4-FFF2-40B4-BE49-F238E27FC236}">
                <a16:creationId xmlns:a16="http://schemas.microsoft.com/office/drawing/2014/main" id="{45B6BEB5-1754-B310-CBB5-DBEE199958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135"/>
          <a:stretch/>
        </p:blipFill>
        <p:spPr>
          <a:xfrm>
            <a:off x="719233" y="0"/>
            <a:ext cx="6909070" cy="609432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B5ED32F-D900-C4C9-650D-3C1B3105E559}"/>
              </a:ext>
            </a:extLst>
          </p:cNvPr>
          <p:cNvSpPr txBox="1"/>
          <p:nvPr userDrawn="1"/>
        </p:nvSpPr>
        <p:spPr>
          <a:xfrm>
            <a:off x="7916163" y="3408680"/>
            <a:ext cx="68961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600" dirty="0">
                <a:solidFill>
                  <a:schemeClr val="accent3"/>
                </a:solidFill>
                <a:latin typeface="Georgia" panose="02040502050405020303" pitchFamily="18" charset="0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1417900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8734CD-23E4-13FB-6C62-FE711E8DAB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B7B8EE-2C5E-6CB0-8C12-69F65A86C1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98D5129-4A05-2C4C-CCD2-69EFF1D047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01EAEB-91DF-7650-588D-BD5BBB45740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32C5FD2-8586-2271-3124-80B79F1E4EE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9230905-D4EC-412D-1048-F8E9A914F4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00D1AF-46DD-4C79-A1D5-74258831387C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C335E2A-608B-B646-EDD7-8FC954BC90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CFD30E9-D171-C59C-0AFC-8E1131050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E6CA6-941C-4361-9EC3-9B98B9D378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899060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00792" y="3720973"/>
            <a:ext cx="2981608" cy="2451227"/>
          </a:xfrm>
        </p:spPr>
        <p:txBody>
          <a:bodyPr/>
          <a:lstStyle>
            <a:lvl1pPr>
              <a:defRPr sz="1800" b="0">
                <a:solidFill>
                  <a:schemeClr val="accent1"/>
                </a:solidFill>
              </a:defRPr>
            </a:lvl1pPr>
            <a:lvl2pPr>
              <a:defRPr sz="14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D3DD303-98F8-790E-26F4-58B3AE82A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blue and black circular pattern&#10;&#10;Description automatically generated">
            <a:extLst>
              <a:ext uri="{FF2B5EF4-FFF2-40B4-BE49-F238E27FC236}">
                <a16:creationId xmlns:a16="http://schemas.microsoft.com/office/drawing/2014/main" id="{45B6BEB5-1754-B310-CBB5-DBEE199958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135"/>
          <a:stretch/>
        </p:blipFill>
        <p:spPr>
          <a:xfrm>
            <a:off x="719233" y="0"/>
            <a:ext cx="6909070" cy="609432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9F404EE-B6C7-1493-016D-2B689B90D1B8}"/>
              </a:ext>
            </a:extLst>
          </p:cNvPr>
          <p:cNvSpPr txBox="1"/>
          <p:nvPr userDrawn="1"/>
        </p:nvSpPr>
        <p:spPr>
          <a:xfrm>
            <a:off x="7916163" y="3408680"/>
            <a:ext cx="68961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600" dirty="0">
                <a:solidFill>
                  <a:schemeClr val="accent3"/>
                </a:solidFill>
                <a:latin typeface="Georgia" panose="02040502050405020303" pitchFamily="18" charset="0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7950187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52A254D-1767-5ABC-4643-2F665C76E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4032504"/>
            <a:ext cx="2743200" cy="1707393"/>
          </a:xfrm>
        </p:spPr>
        <p:txBody>
          <a:bodyPr/>
          <a:lstStyle>
            <a:lvl1pPr marL="115888" indent="-11588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199BCA-2F76-CCC9-F782-282B914EE0D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66183C46-1769-9A50-E51B-3A8FD115FD5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7868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813E447B-791E-6268-100D-AF8B7E6854E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46136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61373F8-D90C-9857-9851-06558C5511A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277868" y="4032504"/>
            <a:ext cx="2743200" cy="1707393"/>
          </a:xfrm>
        </p:spPr>
        <p:txBody>
          <a:bodyPr/>
          <a:lstStyle>
            <a:lvl1pPr marL="115888" indent="-11588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9C2173-97CE-5168-796D-2CB1B223F30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946136" y="4032504"/>
            <a:ext cx="2743200" cy="1707393"/>
          </a:xfrm>
        </p:spPr>
        <p:txBody>
          <a:bodyPr/>
          <a:lstStyle>
            <a:lvl1pPr marL="115888" indent="-11588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1042EB-F58E-FE11-9161-A504845C6B95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86171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52A254D-1767-5ABC-4643-2F665C76E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4032504"/>
            <a:ext cx="1874519" cy="1707393"/>
          </a:xfrm>
        </p:spPr>
        <p:txBody>
          <a:bodyPr/>
          <a:lstStyle>
            <a:lvl1pPr marL="7938" indent="-793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61373F8-D90C-9857-9851-06558C5511A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905029" y="4032504"/>
            <a:ext cx="1874519" cy="1707393"/>
          </a:xfrm>
        </p:spPr>
        <p:txBody>
          <a:bodyPr/>
          <a:lstStyle>
            <a:lvl1pPr marL="7938" indent="-793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9C2173-97CE-5168-796D-2CB1B223F30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00457" y="4032504"/>
            <a:ext cx="1874519" cy="1707393"/>
          </a:xfrm>
        </p:spPr>
        <p:txBody>
          <a:bodyPr/>
          <a:lstStyle>
            <a:lvl1pPr marL="7938" indent="-793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179B86-FFB8-1DFC-5BBB-9FDCEE684272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495885" y="4032504"/>
            <a:ext cx="1874519" cy="1707393"/>
          </a:xfrm>
        </p:spPr>
        <p:txBody>
          <a:bodyPr/>
          <a:lstStyle>
            <a:lvl1pPr marL="7938" indent="-793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E94B261-6A5E-C0F6-88A5-A53999340F7A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791314" y="4032504"/>
            <a:ext cx="1874519" cy="1707393"/>
          </a:xfrm>
        </p:spPr>
        <p:txBody>
          <a:bodyPr/>
          <a:lstStyle>
            <a:lvl1pPr marL="7938" indent="-793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9668AE1-3651-4DA2-66EE-C51F911F74C0}"/>
              </a:ext>
            </a:extLst>
          </p:cNvPr>
          <p:cNvSpPr txBox="1"/>
          <p:nvPr userDrawn="1"/>
        </p:nvSpPr>
        <p:spPr>
          <a:xfrm>
            <a:off x="609600" y="3159245"/>
            <a:ext cx="732893" cy="4308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200" dirty="0">
                <a:solidFill>
                  <a:schemeClr val="accent2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ES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46DC47-A240-C2CA-8385-580BE4F48031}"/>
              </a:ext>
            </a:extLst>
          </p:cNvPr>
          <p:cNvSpPr txBox="1"/>
          <p:nvPr userDrawn="1"/>
        </p:nvSpPr>
        <p:spPr>
          <a:xfrm>
            <a:off x="2905028" y="3159245"/>
            <a:ext cx="1122423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200" dirty="0">
                <a:solidFill>
                  <a:schemeClr val="accent2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Data</a:t>
            </a:r>
          </a:p>
          <a:p>
            <a:r>
              <a:rPr lang="en-US" sz="2200" dirty="0">
                <a:solidFill>
                  <a:schemeClr val="accent2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sci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8B1383-3526-5203-3D8A-1F931ACCB4D1}"/>
              </a:ext>
            </a:extLst>
          </p:cNvPr>
          <p:cNvSpPr txBox="1"/>
          <p:nvPr userDrawn="1"/>
        </p:nvSpPr>
        <p:spPr>
          <a:xfrm>
            <a:off x="5200456" y="3159245"/>
            <a:ext cx="1827744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200" dirty="0">
                <a:solidFill>
                  <a:schemeClr val="accent2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Risk</a:t>
            </a:r>
          </a:p>
          <a:p>
            <a:r>
              <a:rPr lang="en-US" sz="2200" dirty="0">
                <a:solidFill>
                  <a:schemeClr val="accent2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manageme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0896AE5-095A-8745-1BAC-D9F71BCE188E}"/>
              </a:ext>
            </a:extLst>
          </p:cNvPr>
          <p:cNvSpPr txBox="1"/>
          <p:nvPr userDrawn="1"/>
        </p:nvSpPr>
        <p:spPr>
          <a:xfrm>
            <a:off x="7495884" y="3159245"/>
            <a:ext cx="1326004" cy="4308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200" dirty="0">
                <a:solidFill>
                  <a:schemeClr val="accent2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Research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3439CDA-DC34-EA39-3B6A-F7CCDABF2378}"/>
              </a:ext>
            </a:extLst>
          </p:cNvPr>
          <p:cNvSpPr txBox="1"/>
          <p:nvPr userDrawn="1"/>
        </p:nvSpPr>
        <p:spPr>
          <a:xfrm>
            <a:off x="9765637" y="3159245"/>
            <a:ext cx="1827744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200" dirty="0">
                <a:solidFill>
                  <a:schemeClr val="accent2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Performance</a:t>
            </a:r>
          </a:p>
          <a:p>
            <a:r>
              <a:rPr lang="en-US" sz="2200" dirty="0">
                <a:solidFill>
                  <a:schemeClr val="accent2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managemen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FF4D5CE-BBE2-5CA8-D232-F9E5EF28D8E7}"/>
              </a:ext>
            </a:extLst>
          </p:cNvPr>
          <p:cNvCxnSpPr>
            <a:cxnSpLocks/>
          </p:cNvCxnSpPr>
          <p:nvPr userDrawn="1"/>
        </p:nvCxnSpPr>
        <p:spPr>
          <a:xfrm>
            <a:off x="609600" y="2989967"/>
            <a:ext cx="177937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7FB574-7D8F-BDBD-8EBC-50ADF9908533}"/>
              </a:ext>
            </a:extLst>
          </p:cNvPr>
          <p:cNvCxnSpPr>
            <a:cxnSpLocks/>
          </p:cNvCxnSpPr>
          <p:nvPr userDrawn="1"/>
        </p:nvCxnSpPr>
        <p:spPr>
          <a:xfrm>
            <a:off x="2905028" y="2989967"/>
            <a:ext cx="177937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CD60AC4-0EDA-37B8-61A8-9DFA179959E3}"/>
              </a:ext>
            </a:extLst>
          </p:cNvPr>
          <p:cNvCxnSpPr>
            <a:cxnSpLocks/>
          </p:cNvCxnSpPr>
          <p:nvPr userDrawn="1"/>
        </p:nvCxnSpPr>
        <p:spPr>
          <a:xfrm>
            <a:off x="5200456" y="2989967"/>
            <a:ext cx="177937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1B2F06F-EC57-9192-83A9-FEA40616824A}"/>
              </a:ext>
            </a:extLst>
          </p:cNvPr>
          <p:cNvCxnSpPr>
            <a:cxnSpLocks/>
          </p:cNvCxnSpPr>
          <p:nvPr userDrawn="1"/>
        </p:nvCxnSpPr>
        <p:spPr>
          <a:xfrm>
            <a:off x="7495884" y="2989967"/>
            <a:ext cx="177937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 descr="A blue circle with black background&#10;&#10;Description automatically generated">
            <a:extLst>
              <a:ext uri="{FF2B5EF4-FFF2-40B4-BE49-F238E27FC236}">
                <a16:creationId xmlns:a16="http://schemas.microsoft.com/office/drawing/2014/main" id="{37196BA3-C288-8086-E479-4FBF9E4977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" y="1888832"/>
            <a:ext cx="810693" cy="810693"/>
          </a:xfrm>
          <a:prstGeom prst="rect">
            <a:avLst/>
          </a:prstGeom>
        </p:spPr>
      </p:pic>
      <p:pic>
        <p:nvPicPr>
          <p:cNvPr id="24" name="Picture 23" descr="A blue and black rectangles&#10;&#10;Description automatically generated">
            <a:extLst>
              <a:ext uri="{FF2B5EF4-FFF2-40B4-BE49-F238E27FC236}">
                <a16:creationId xmlns:a16="http://schemas.microsoft.com/office/drawing/2014/main" id="{29FB279F-F0E8-2F9A-6703-86F6DA49F3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05028" y="1923088"/>
            <a:ext cx="736474" cy="742183"/>
          </a:xfrm>
          <a:prstGeom prst="rect">
            <a:avLst/>
          </a:prstGeom>
        </p:spPr>
      </p:pic>
      <p:pic>
        <p:nvPicPr>
          <p:cNvPr id="25" name="Picture 24" descr="A blue gear with a black background&#10;&#10;Description automatically generated">
            <a:extLst>
              <a:ext uri="{FF2B5EF4-FFF2-40B4-BE49-F238E27FC236}">
                <a16:creationId xmlns:a16="http://schemas.microsoft.com/office/drawing/2014/main" id="{37265398-1D05-C3C7-10E3-5965EAD042C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200456" y="1860287"/>
            <a:ext cx="650838" cy="804984"/>
          </a:xfrm>
          <a:prstGeom prst="rect">
            <a:avLst/>
          </a:prstGeom>
        </p:spPr>
      </p:pic>
      <p:pic>
        <p:nvPicPr>
          <p:cNvPr id="26" name="Picture 25" descr="A blue magnifying glass and a blue circle&#10;&#10;Description automatically generated">
            <a:extLst>
              <a:ext uri="{FF2B5EF4-FFF2-40B4-BE49-F238E27FC236}">
                <a16:creationId xmlns:a16="http://schemas.microsoft.com/office/drawing/2014/main" id="{F223D8AD-ACC1-7E26-22C9-7AAE2C025D3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95884" y="1836757"/>
            <a:ext cx="890620" cy="890620"/>
          </a:xfrm>
          <a:prstGeom prst="rect">
            <a:avLst/>
          </a:prstGeom>
        </p:spPr>
      </p:pic>
      <p:pic>
        <p:nvPicPr>
          <p:cNvPr id="27" name="Picture 26" descr="A blue and white clock&#10;&#10;Description automatically generated">
            <a:extLst>
              <a:ext uri="{FF2B5EF4-FFF2-40B4-BE49-F238E27FC236}">
                <a16:creationId xmlns:a16="http://schemas.microsoft.com/office/drawing/2014/main" id="{320E5A69-5809-42DD-3D6B-05F1B13E247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791313" y="2007613"/>
            <a:ext cx="844947" cy="616583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6BBEC30-FCB4-DF6F-BEC0-45322FF2808C}"/>
              </a:ext>
            </a:extLst>
          </p:cNvPr>
          <p:cNvCxnSpPr>
            <a:cxnSpLocks/>
          </p:cNvCxnSpPr>
          <p:nvPr userDrawn="1"/>
        </p:nvCxnSpPr>
        <p:spPr>
          <a:xfrm>
            <a:off x="9791313" y="2989967"/>
            <a:ext cx="177937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4CCA62-5A2A-6719-2FF5-D957D797812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04715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01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52A254D-1767-5ABC-4643-2F665C76E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4398264"/>
            <a:ext cx="1874519" cy="1707393"/>
          </a:xfrm>
        </p:spPr>
        <p:txBody>
          <a:bodyPr/>
          <a:lstStyle>
            <a:lvl1pPr marL="7938" indent="-7938">
              <a:tabLst/>
              <a:defRPr sz="1200" b="0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61373F8-D90C-9857-9851-06558C5511A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884171" y="4398264"/>
            <a:ext cx="1874519" cy="1707393"/>
          </a:xfrm>
        </p:spPr>
        <p:txBody>
          <a:bodyPr/>
          <a:lstStyle>
            <a:lvl1pPr marL="7938" indent="-7938">
              <a:tabLst/>
              <a:defRPr sz="1200" b="0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9C2173-97CE-5168-796D-2CB1B223F30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158741" y="4398264"/>
            <a:ext cx="1874519" cy="1707393"/>
          </a:xfrm>
        </p:spPr>
        <p:txBody>
          <a:bodyPr/>
          <a:lstStyle>
            <a:lvl1pPr marL="7938" indent="-7938">
              <a:tabLst/>
              <a:defRPr sz="1200" b="0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179B86-FFB8-1DFC-5BBB-9FDCEE684272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433311" y="4398264"/>
            <a:ext cx="1874519" cy="1707393"/>
          </a:xfrm>
        </p:spPr>
        <p:txBody>
          <a:bodyPr/>
          <a:lstStyle>
            <a:lvl1pPr marL="7938" indent="-7938">
              <a:tabLst/>
              <a:defRPr sz="1200" b="0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E94B261-6A5E-C0F6-88A5-A53999340F7A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707881" y="4398264"/>
            <a:ext cx="1874519" cy="1707393"/>
          </a:xfrm>
        </p:spPr>
        <p:txBody>
          <a:bodyPr/>
          <a:lstStyle>
            <a:lvl1pPr marL="7938" indent="-7938">
              <a:tabLst/>
              <a:defRPr sz="1200" b="0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9668AE1-3651-4DA2-66EE-C51F911F74C0}"/>
              </a:ext>
            </a:extLst>
          </p:cNvPr>
          <p:cNvSpPr txBox="1"/>
          <p:nvPr userDrawn="1"/>
        </p:nvSpPr>
        <p:spPr>
          <a:xfrm>
            <a:off x="609600" y="3602736"/>
            <a:ext cx="732893" cy="4308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00" dirty="0">
                <a:solidFill>
                  <a:schemeClr val="accent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ES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46DC47-A240-C2CA-8385-580BE4F48031}"/>
              </a:ext>
            </a:extLst>
          </p:cNvPr>
          <p:cNvSpPr txBox="1"/>
          <p:nvPr userDrawn="1"/>
        </p:nvSpPr>
        <p:spPr>
          <a:xfrm>
            <a:off x="2884171" y="3602736"/>
            <a:ext cx="1122423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00" dirty="0">
                <a:solidFill>
                  <a:schemeClr val="accent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Data</a:t>
            </a:r>
          </a:p>
          <a:p>
            <a:r>
              <a:rPr lang="en-US" sz="1800" dirty="0">
                <a:solidFill>
                  <a:schemeClr val="accent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sci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8B1383-3526-5203-3D8A-1F931ACCB4D1}"/>
              </a:ext>
            </a:extLst>
          </p:cNvPr>
          <p:cNvSpPr txBox="1"/>
          <p:nvPr userDrawn="1"/>
        </p:nvSpPr>
        <p:spPr>
          <a:xfrm>
            <a:off x="5158741" y="3602736"/>
            <a:ext cx="1827744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00" dirty="0">
                <a:solidFill>
                  <a:schemeClr val="accent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Risk</a:t>
            </a:r>
          </a:p>
          <a:p>
            <a:r>
              <a:rPr lang="en-US" sz="1800" dirty="0">
                <a:solidFill>
                  <a:schemeClr val="accent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manageme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0896AE5-095A-8745-1BAC-D9F71BCE188E}"/>
              </a:ext>
            </a:extLst>
          </p:cNvPr>
          <p:cNvSpPr txBox="1"/>
          <p:nvPr userDrawn="1"/>
        </p:nvSpPr>
        <p:spPr>
          <a:xfrm>
            <a:off x="7433311" y="3602736"/>
            <a:ext cx="1326004" cy="4308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00" dirty="0">
                <a:solidFill>
                  <a:schemeClr val="accent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Research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3439CDA-DC34-EA39-3B6A-F7CCDABF2378}"/>
              </a:ext>
            </a:extLst>
          </p:cNvPr>
          <p:cNvSpPr txBox="1"/>
          <p:nvPr userDrawn="1"/>
        </p:nvSpPr>
        <p:spPr>
          <a:xfrm>
            <a:off x="9707881" y="3602736"/>
            <a:ext cx="1827744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00" dirty="0">
                <a:solidFill>
                  <a:schemeClr val="accent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Performance</a:t>
            </a:r>
          </a:p>
          <a:p>
            <a:r>
              <a:rPr lang="en-US" sz="1800" dirty="0">
                <a:solidFill>
                  <a:schemeClr val="accent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managemen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FF4D5CE-BBE2-5CA8-D232-F9E5EF28D8E7}"/>
              </a:ext>
            </a:extLst>
          </p:cNvPr>
          <p:cNvCxnSpPr>
            <a:cxnSpLocks/>
          </p:cNvCxnSpPr>
          <p:nvPr userDrawn="1"/>
        </p:nvCxnSpPr>
        <p:spPr>
          <a:xfrm>
            <a:off x="609600" y="3438144"/>
            <a:ext cx="187451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7FB574-7D8F-BDBD-8EBC-50ADF9908533}"/>
              </a:ext>
            </a:extLst>
          </p:cNvPr>
          <p:cNvCxnSpPr>
            <a:cxnSpLocks/>
          </p:cNvCxnSpPr>
          <p:nvPr userDrawn="1"/>
        </p:nvCxnSpPr>
        <p:spPr>
          <a:xfrm>
            <a:off x="2884170" y="3438144"/>
            <a:ext cx="187451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CD60AC4-0EDA-37B8-61A8-9DFA179959E3}"/>
              </a:ext>
            </a:extLst>
          </p:cNvPr>
          <p:cNvCxnSpPr>
            <a:cxnSpLocks/>
          </p:cNvCxnSpPr>
          <p:nvPr userDrawn="1"/>
        </p:nvCxnSpPr>
        <p:spPr>
          <a:xfrm>
            <a:off x="5158740" y="3438144"/>
            <a:ext cx="187451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1B2F06F-EC57-9192-83A9-FEA40616824A}"/>
              </a:ext>
            </a:extLst>
          </p:cNvPr>
          <p:cNvCxnSpPr>
            <a:cxnSpLocks/>
          </p:cNvCxnSpPr>
          <p:nvPr userDrawn="1"/>
        </p:nvCxnSpPr>
        <p:spPr>
          <a:xfrm>
            <a:off x="7433310" y="3438144"/>
            <a:ext cx="187451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6BBEC30-FCB4-DF6F-BEC0-45322FF2808C}"/>
              </a:ext>
            </a:extLst>
          </p:cNvPr>
          <p:cNvCxnSpPr>
            <a:cxnSpLocks/>
          </p:cNvCxnSpPr>
          <p:nvPr userDrawn="1"/>
        </p:nvCxnSpPr>
        <p:spPr>
          <a:xfrm>
            <a:off x="9707880" y="3438144"/>
            <a:ext cx="187451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ue and black rectangles&#10;&#10;Description automatically generated">
            <a:extLst>
              <a:ext uri="{FF2B5EF4-FFF2-40B4-BE49-F238E27FC236}">
                <a16:creationId xmlns:a16="http://schemas.microsoft.com/office/drawing/2014/main" id="{A5C11F12-075B-CCED-5251-252E655EC6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7813" y="2066403"/>
            <a:ext cx="1047233" cy="1055351"/>
          </a:xfrm>
          <a:prstGeom prst="rect">
            <a:avLst/>
          </a:prstGeom>
        </p:spPr>
      </p:pic>
      <p:pic>
        <p:nvPicPr>
          <p:cNvPr id="10" name="Picture 9" descr="A blue circle with black background&#10;&#10;Description automatically generated">
            <a:extLst>
              <a:ext uri="{FF2B5EF4-FFF2-40B4-BE49-F238E27FC236}">
                <a16:creationId xmlns:a16="http://schemas.microsoft.com/office/drawing/2014/main" id="{C4F01B50-B84D-E3F7-F532-B7BDD34E7D9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0475" y="2021962"/>
            <a:ext cx="1152768" cy="1152768"/>
          </a:xfrm>
          <a:prstGeom prst="rect">
            <a:avLst/>
          </a:prstGeom>
        </p:spPr>
      </p:pic>
      <p:pic>
        <p:nvPicPr>
          <p:cNvPr id="11" name="Picture 10" descr="A blue and white clock&#10;&#10;Description automatically generated">
            <a:extLst>
              <a:ext uri="{FF2B5EF4-FFF2-40B4-BE49-F238E27FC236}">
                <a16:creationId xmlns:a16="http://schemas.microsoft.com/office/drawing/2014/main" id="{B6223589-A946-B8F9-23DB-3CB298CB08A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44401" y="2155701"/>
            <a:ext cx="1201477" cy="876753"/>
          </a:xfrm>
          <a:prstGeom prst="rect">
            <a:avLst/>
          </a:prstGeom>
        </p:spPr>
      </p:pic>
      <p:pic>
        <p:nvPicPr>
          <p:cNvPr id="29" name="Picture 28" descr="A blue magnifying glass and a blue circle&#10;&#10;Description automatically generated">
            <a:extLst>
              <a:ext uri="{FF2B5EF4-FFF2-40B4-BE49-F238E27FC236}">
                <a16:creationId xmlns:a16="http://schemas.microsoft.com/office/drawing/2014/main" id="{5BF9C195-907E-A813-87A2-783B0C9432A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737359" y="1977104"/>
            <a:ext cx="1266421" cy="1266421"/>
          </a:xfrm>
          <a:prstGeom prst="rect">
            <a:avLst/>
          </a:prstGeom>
        </p:spPr>
      </p:pic>
      <p:pic>
        <p:nvPicPr>
          <p:cNvPr id="30" name="Picture 29" descr="A blue gear with a black background&#10;&#10;Description automatically generated">
            <a:extLst>
              <a:ext uri="{FF2B5EF4-FFF2-40B4-BE49-F238E27FC236}">
                <a16:creationId xmlns:a16="http://schemas.microsoft.com/office/drawing/2014/main" id="{D188576F-F6D8-E7B1-C1FA-C0F82357D89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633268" y="1977104"/>
            <a:ext cx="925462" cy="1144651"/>
          </a:xfrm>
          <a:prstGeom prst="rect">
            <a:avLst/>
          </a:prstGeom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488E93F6-68CD-29D8-FD48-BE252C6D1CB9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4857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7521" y="1276539"/>
            <a:ext cx="4068025" cy="57036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1" y="2459736"/>
            <a:ext cx="4953707" cy="3334871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A blue circle with black background&#10;&#10;Description automatically generated">
            <a:extLst>
              <a:ext uri="{FF2B5EF4-FFF2-40B4-BE49-F238E27FC236}">
                <a16:creationId xmlns:a16="http://schemas.microsoft.com/office/drawing/2014/main" id="{266DC31C-6F0B-47FA-6872-96690E81BF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1568" y="511033"/>
            <a:ext cx="1101849" cy="1101849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84D9861-A635-D728-8C5A-C5A03E8551B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053328" y="2459736"/>
            <a:ext cx="4953707" cy="3334871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3F5CF95-46EC-A5AA-8BA2-26E8B0B1B5C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2027521" y="94483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529760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4835" cy="6364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1" y="2286000"/>
            <a:ext cx="10977279" cy="333487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603371D-95A1-CE04-CB51-17193AB3C4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034347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2729" y="860613"/>
            <a:ext cx="3669671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60382B-A8FB-9E60-A6B8-2CA3707784C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7912729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398939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88E2E2C-E1D8-3600-1F6D-487C3A0617EA}"/>
              </a:ext>
            </a:extLst>
          </p:cNvPr>
          <p:cNvSpPr/>
          <p:nvPr userDrawn="1"/>
        </p:nvSpPr>
        <p:spPr>
          <a:xfrm>
            <a:off x="5169529" y="0"/>
            <a:ext cx="702247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4111734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2" y="2578608"/>
            <a:ext cx="4111734" cy="3197503"/>
          </a:xfrm>
        </p:spPr>
        <p:txBody>
          <a:bodyPr>
            <a:noAutofit/>
          </a:bodyPr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699A093-C444-B416-3E2D-72058A615DD2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4102681" cy="50071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BD6302A-207F-4F17-1921-4825B0CF07F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96000" y="4434840"/>
            <a:ext cx="5486400" cy="1737360"/>
          </a:xfrm>
        </p:spPr>
        <p:txBody>
          <a:bodyPr numCol="2"/>
          <a:lstStyle>
            <a:lvl1pPr>
              <a:defRPr sz="1200" b="1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A26EB27-5C47-E5B7-0D16-CBAAF9935A4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96000" y="687388"/>
            <a:ext cx="5486400" cy="27699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0D8C723B-6EE2-FE37-A79E-37DAD9824EE0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096000" y="1168400"/>
            <a:ext cx="5486400" cy="2914650"/>
          </a:xfrm>
        </p:spPr>
        <p:txBody>
          <a:bodyPr anchor="ctr"/>
          <a:lstStyle>
            <a:lvl1pPr algn="ctr">
              <a:defRPr sz="1200" b="0"/>
            </a:lvl1pPr>
          </a:lstStyle>
          <a:p>
            <a:r>
              <a:rPr lang="en-US" dirty="0"/>
              <a:t>Insert Char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2022A4A-39DB-30EE-2119-7D09252705AC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758363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342900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2" y="2121408"/>
            <a:ext cx="3429000" cy="3660827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BFF57EF-97E3-11A4-1100-F38E0C6315BC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894300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4835" cy="63649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0DC3361-9B01-BF52-793E-777D7F6293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85315" y="16079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sz="1100" dirty="0"/>
              <a:t>Third level text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20FC08E-7489-D139-3331-DB3981897D3A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09600" y="16079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9C45C1BA-960D-125F-2C6F-A1E06878F1D7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09600" y="32271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F8094E2-804D-3F0D-FE87-4E4FAEC33F72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609600" y="48463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2912979A-3C2A-AAD9-2B4C-184A98317901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457700" y="16079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811D3531-3E96-0C28-F17B-05B39C43768C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4457700" y="32271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50CB65E5-4F19-9839-AB0D-BEC289F2A14C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4457700" y="48463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45D58218-D6D5-C2FC-BF9C-B24A0CCB028A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8305800" y="16079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5" name="Picture Placeholder 8">
            <a:extLst>
              <a:ext uri="{FF2B5EF4-FFF2-40B4-BE49-F238E27FC236}">
                <a16:creationId xmlns:a16="http://schemas.microsoft.com/office/drawing/2014/main" id="{0106B269-D456-8C25-9ABE-23476151D9EB}"/>
              </a:ext>
            </a:extLst>
          </p:cNvPr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8305800" y="32271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7" name="Picture Placeholder 8">
            <a:extLst>
              <a:ext uri="{FF2B5EF4-FFF2-40B4-BE49-F238E27FC236}">
                <a16:creationId xmlns:a16="http://schemas.microsoft.com/office/drawing/2014/main" id="{A260AE45-3B28-335B-BD74-2819BC10A7CF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8305800" y="48463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FA8399-0448-E39F-9EC1-11FD493244E3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2085315" y="3227119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sz="1100" dirty="0"/>
              <a:t>Third level text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7C4CDCA-94F9-00DC-51EF-E7F4F84BC57D}"/>
              </a:ext>
            </a:extLst>
          </p:cNvPr>
          <p:cNvSpPr>
            <a:spLocks noGrp="1"/>
          </p:cNvSpPr>
          <p:nvPr>
            <p:ph idx="31"/>
          </p:nvPr>
        </p:nvSpPr>
        <p:spPr>
          <a:xfrm>
            <a:off x="2085315" y="48463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sz="1100" dirty="0"/>
              <a:t>Third level text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576AAE9-01C7-0C9D-92FA-D90724C371DD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5933415" y="16079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sz="1100" dirty="0"/>
              <a:t>Third level text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B955807-A98D-DABA-0A32-DFBA17F3DF67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5933415" y="3227119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sz="1100" dirty="0"/>
              <a:t>Third level text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82C269D3-7ACC-997D-C150-365315A2422B}"/>
              </a:ext>
            </a:extLst>
          </p:cNvPr>
          <p:cNvSpPr>
            <a:spLocks noGrp="1"/>
          </p:cNvSpPr>
          <p:nvPr>
            <p:ph idx="34"/>
          </p:nvPr>
        </p:nvSpPr>
        <p:spPr>
          <a:xfrm>
            <a:off x="5933415" y="48463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sz="1100" dirty="0"/>
              <a:t>Third level text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6FAB9A17-A3DF-E1E8-217B-6F4A8FF54198}"/>
              </a:ext>
            </a:extLst>
          </p:cNvPr>
          <p:cNvSpPr>
            <a:spLocks noGrp="1"/>
          </p:cNvSpPr>
          <p:nvPr>
            <p:ph idx="35"/>
          </p:nvPr>
        </p:nvSpPr>
        <p:spPr>
          <a:xfrm>
            <a:off x="9781515" y="16079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sz="1100" dirty="0"/>
              <a:t>Third level text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BB46A8A3-D9DE-81A1-D910-4450032D5812}"/>
              </a:ext>
            </a:extLst>
          </p:cNvPr>
          <p:cNvSpPr>
            <a:spLocks noGrp="1"/>
          </p:cNvSpPr>
          <p:nvPr>
            <p:ph idx="36"/>
          </p:nvPr>
        </p:nvSpPr>
        <p:spPr>
          <a:xfrm>
            <a:off x="9781515" y="3227119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sz="1100" dirty="0"/>
              <a:t>Third level text</a:t>
            </a:r>
            <a:endParaRPr lang="en-US" dirty="0"/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71A69FD0-1F85-3AFC-222B-2A689BA17EE7}"/>
              </a:ext>
            </a:extLst>
          </p:cNvPr>
          <p:cNvSpPr>
            <a:spLocks noGrp="1"/>
          </p:cNvSpPr>
          <p:nvPr>
            <p:ph idx="37"/>
          </p:nvPr>
        </p:nvSpPr>
        <p:spPr>
          <a:xfrm>
            <a:off x="9781515" y="48463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sz="1100" dirty="0"/>
              <a:t>Third level text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8D29BAD-2050-638E-B0CB-6FAC30A2E75C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12208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E94D4A-F99B-FA4F-40F1-6718940ED0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549539-CE01-30FC-C2FA-3D4E5423B6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00D1AF-46DD-4C79-A1D5-74258831387C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2FD2C5B-1472-328E-48C0-D502E88A1B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0784B5-F332-3913-0B7D-AAFAE97895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E6CA6-941C-4361-9EC3-9B98B9D378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74710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52A254D-1767-5ABC-4643-2F665C76E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4032504"/>
            <a:ext cx="2743200" cy="170739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dirty="0">
                <a:solidFill>
                  <a:schemeClr val="accent2"/>
                </a:solidFill>
                <a:latin typeface="Georgia" panose="02040502050405020303" pitchFamily="18" charset="0"/>
              </a:defRPr>
            </a:lvl1pPr>
            <a:lvl2pPr>
              <a:spcBef>
                <a:spcPts val="0"/>
              </a:spcBef>
              <a:spcAft>
                <a:spcPts val="1400"/>
              </a:spcAft>
              <a:defRPr lang="en-US" sz="1800" dirty="0">
                <a:solidFill>
                  <a:schemeClr val="accent2"/>
                </a:solidFill>
              </a:defRPr>
            </a:lvl2pPr>
            <a:lvl3pPr marL="7937" indent="0">
              <a:buNone/>
              <a:defRPr sz="1800">
                <a:solidFill>
                  <a:schemeClr val="accent2"/>
                </a:solidFill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 err="1"/>
              <a:t>Nevf;efbnd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199BCA-2F76-CCC9-F782-282B914EE0D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66183C46-1769-9A50-E51B-3A8FD115FD5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7868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813E447B-791E-6268-100D-AF8B7E6854E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46136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A88A16-66AC-9CAC-3917-DA287ECE0B75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77868" y="4032504"/>
            <a:ext cx="2743200" cy="170739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dirty="0">
                <a:solidFill>
                  <a:schemeClr val="accent2"/>
                </a:solidFill>
                <a:latin typeface="Georgia" panose="02040502050405020303" pitchFamily="18" charset="0"/>
              </a:defRPr>
            </a:lvl1pPr>
            <a:lvl2pPr>
              <a:spcBef>
                <a:spcPts val="0"/>
              </a:spcBef>
              <a:spcAft>
                <a:spcPts val="1400"/>
              </a:spcAft>
              <a:defRPr lang="en-US" sz="1800" dirty="0">
                <a:solidFill>
                  <a:schemeClr val="accent2"/>
                </a:solidFill>
              </a:defRPr>
            </a:lvl2pPr>
            <a:lvl3pPr marL="7937" indent="0">
              <a:buNone/>
              <a:defRPr sz="1800">
                <a:solidFill>
                  <a:schemeClr val="accent2"/>
                </a:solidFill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 err="1"/>
              <a:t>Nevf;efbnd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88227DF-7FC1-0AFC-418A-D46220D35C89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946136" y="4032504"/>
            <a:ext cx="2743200" cy="170739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dirty="0">
                <a:solidFill>
                  <a:schemeClr val="accent2"/>
                </a:solidFill>
                <a:latin typeface="Georgia" panose="02040502050405020303" pitchFamily="18" charset="0"/>
              </a:defRPr>
            </a:lvl1pPr>
            <a:lvl2pPr>
              <a:spcBef>
                <a:spcPts val="0"/>
              </a:spcBef>
              <a:spcAft>
                <a:spcPts val="1400"/>
              </a:spcAft>
              <a:defRPr lang="en-US" sz="1800" dirty="0">
                <a:solidFill>
                  <a:schemeClr val="accent2"/>
                </a:solidFill>
              </a:defRPr>
            </a:lvl2pPr>
            <a:lvl3pPr marL="7937" indent="0">
              <a:buNone/>
              <a:defRPr sz="1800">
                <a:solidFill>
                  <a:schemeClr val="accent2"/>
                </a:solidFill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 err="1"/>
              <a:t>Nevf;efbnd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6EEB533-E99D-D8DB-B98C-3784DC7621F5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018992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52A254D-1767-5ABC-4643-2F665C76E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4361688"/>
            <a:ext cx="2743200" cy="14868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dirty="0">
                <a:solidFill>
                  <a:schemeClr val="accent2"/>
                </a:solidFill>
                <a:latin typeface="Georgia" panose="02040502050405020303" pitchFamily="18" charset="0"/>
              </a:defRPr>
            </a:lvl1pPr>
            <a:lvl2pPr>
              <a:spcBef>
                <a:spcPts val="0"/>
              </a:spcBef>
              <a:spcAft>
                <a:spcPts val="1400"/>
              </a:spcAft>
              <a:defRPr lang="en-US" sz="1800" dirty="0">
                <a:solidFill>
                  <a:schemeClr val="accent2"/>
                </a:solidFill>
              </a:defRPr>
            </a:lvl2pPr>
            <a:lvl3pPr marL="7937" indent="0">
              <a:buNone/>
              <a:defRPr sz="1400">
                <a:solidFill>
                  <a:schemeClr val="accent2"/>
                </a:solidFill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 err="1"/>
              <a:t>Nevf;efbnd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199BCA-2F76-CCC9-F782-282B914EE0D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664208"/>
            <a:ext cx="2286000" cy="22860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A88A16-66AC-9CAC-3917-DA287ECE0B75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79392" y="1664208"/>
            <a:ext cx="3474720" cy="4019739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1500"/>
              </a:spcBef>
              <a:defRPr lang="en-US" sz="1800" b="0" dirty="0">
                <a:solidFill>
                  <a:schemeClr val="accent2"/>
                </a:solidFill>
                <a:latin typeface="+mn-lt"/>
              </a:defRPr>
            </a:lvl1pPr>
            <a:lvl2pPr marL="233363" indent="-225425">
              <a:spcAft>
                <a:spcPts val="500"/>
              </a:spcAft>
              <a:buFont typeface="Arial" panose="020B0604020202020204" pitchFamily="34" charset="0"/>
              <a:buChar char="•"/>
              <a:tabLst/>
              <a:defRPr lang="en-US" sz="1800" dirty="0">
                <a:solidFill>
                  <a:schemeClr val="accent2"/>
                </a:solidFill>
                <a:latin typeface="+mn-lt"/>
              </a:defRPr>
            </a:lvl2pPr>
            <a:lvl3pPr marL="233363" indent="0">
              <a:spcBef>
                <a:spcPts val="0"/>
              </a:spcBef>
              <a:buNone/>
              <a:tabLst/>
              <a:defRPr sz="1800">
                <a:solidFill>
                  <a:schemeClr val="accent2"/>
                </a:solidFill>
                <a:latin typeface="+mn-lt"/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 err="1"/>
              <a:t>Nevf;efbnd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88227DF-7FC1-0AFC-418A-D46220D35C89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936992" y="1664208"/>
            <a:ext cx="3474720" cy="4019739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1500"/>
              </a:spcBef>
              <a:defRPr lang="en-US" sz="1800" b="0" dirty="0">
                <a:solidFill>
                  <a:schemeClr val="accent2"/>
                </a:solidFill>
                <a:latin typeface="+mn-lt"/>
              </a:defRPr>
            </a:lvl1pPr>
            <a:lvl2pPr marL="233363" indent="-225425">
              <a:spcAft>
                <a:spcPts val="500"/>
              </a:spcAft>
              <a:buFont typeface="Arial" panose="020B0604020202020204" pitchFamily="34" charset="0"/>
              <a:buChar char="•"/>
              <a:tabLst/>
              <a:defRPr lang="en-US" sz="1800" dirty="0">
                <a:solidFill>
                  <a:schemeClr val="accent2"/>
                </a:solidFill>
                <a:latin typeface="+mn-lt"/>
              </a:defRPr>
            </a:lvl2pPr>
            <a:lvl3pPr marL="233363" indent="0">
              <a:spcBef>
                <a:spcPts val="0"/>
              </a:spcBef>
              <a:buNone/>
              <a:tabLst/>
              <a:defRPr sz="1800">
                <a:solidFill>
                  <a:schemeClr val="accent2"/>
                </a:solidFill>
                <a:latin typeface="+mn-lt"/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 err="1"/>
              <a:t>Nevf;efbnd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A93A3B2-0AB2-C90D-501D-D2452C06A7C1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802075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e squares on a black background&#10;&#10;Description automatically generated">
            <a:extLst>
              <a:ext uri="{FF2B5EF4-FFF2-40B4-BE49-F238E27FC236}">
                <a16:creationId xmlns:a16="http://schemas.microsoft.com/office/drawing/2014/main" id="{60825B88-96B2-9387-961C-9017F09ECFC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74229" y="740229"/>
            <a:ext cx="6117771" cy="61177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38488"/>
            <a:ext cx="4572000" cy="1661993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solidFill>
                  <a:schemeClr val="accent2"/>
                </a:solidFill>
              </a:rPr>
              <a:t>Section title goes her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9877448-ED28-7E48-23E9-7E77F3D4C8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36208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C458318-B554-9EFD-B994-7340E4C37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F67FB2-BC35-3F89-183A-082341696DF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725827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A5D0B882-7E2D-3A5C-E1AE-9A2AB120430D}"/>
              </a:ext>
            </a:extLst>
          </p:cNvPr>
          <p:cNvGrpSpPr/>
          <p:nvPr userDrawn="1"/>
        </p:nvGrpSpPr>
        <p:grpSpPr>
          <a:xfrm>
            <a:off x="5154334" y="684914"/>
            <a:ext cx="7053164" cy="5173810"/>
            <a:chOff x="6378853" y="2598509"/>
            <a:chExt cx="5813147" cy="4264203"/>
          </a:xfrm>
        </p:grpSpPr>
        <p:pic>
          <p:nvPicPr>
            <p:cNvPr id="5" name="Picture 4" descr="A blue rectangle with black border&#10;&#10;Description automatically generated">
              <a:extLst>
                <a:ext uri="{FF2B5EF4-FFF2-40B4-BE49-F238E27FC236}">
                  <a16:creationId xmlns:a16="http://schemas.microsoft.com/office/drawing/2014/main" id="{5E6FE1D3-52BD-8A3E-4ECB-BBB0BD4D82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978363" y="3148888"/>
              <a:ext cx="5213637" cy="3713824"/>
            </a:xfrm>
            <a:prstGeom prst="rect">
              <a:avLst/>
            </a:prstGeom>
          </p:spPr>
        </p:pic>
        <p:pic>
          <p:nvPicPr>
            <p:cNvPr id="6" name="Picture 5" descr="A screen shot of numbers and symbols&#10;&#10;Description automatically generated">
              <a:extLst>
                <a:ext uri="{FF2B5EF4-FFF2-40B4-BE49-F238E27FC236}">
                  <a16:creationId xmlns:a16="http://schemas.microsoft.com/office/drawing/2014/main" id="{9317EB54-6219-B6DD-7939-CDB6007B9E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-929" t="8347" r="2" b="8"/>
            <a:stretch/>
          </p:blipFill>
          <p:spPr>
            <a:xfrm>
              <a:off x="6378853" y="2598509"/>
              <a:ext cx="4967788" cy="3381468"/>
            </a:xfrm>
            <a:prstGeom prst="rect">
              <a:avLst/>
            </a:prstGeom>
          </p:spPr>
        </p:pic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BD1111D-006B-AC28-884B-A419711E063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55917" y="684913"/>
            <a:ext cx="6025896" cy="4105656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38488"/>
            <a:ext cx="4572000" cy="1661993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solidFill>
                  <a:schemeClr val="accent2"/>
                </a:solidFill>
              </a:rPr>
              <a:t>Section title</a:t>
            </a:r>
            <a:br>
              <a:rPr lang="en-US" dirty="0">
                <a:solidFill>
                  <a:schemeClr val="accent2"/>
                </a:solidFill>
              </a:rPr>
            </a:br>
            <a:r>
              <a:rPr lang="en-US" dirty="0">
                <a:solidFill>
                  <a:schemeClr val="accent2"/>
                </a:solidFill>
              </a:rPr>
              <a:t>goes her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9877448-ED28-7E48-23E9-7E77F3D4C8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36208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C458318-B554-9EFD-B994-7340E4C37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9D0DD24-4288-5627-4EFC-6A48B7B75943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676009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e square with black border&#10;&#10;Description automatically generated">
            <a:extLst>
              <a:ext uri="{FF2B5EF4-FFF2-40B4-BE49-F238E27FC236}">
                <a16:creationId xmlns:a16="http://schemas.microsoft.com/office/drawing/2014/main" id="{47BE3F58-CAAB-5707-08D5-68AEE1A17A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79628" y="1862868"/>
            <a:ext cx="5012372" cy="4995132"/>
          </a:xfrm>
          <a:prstGeom prst="rect">
            <a:avLst/>
          </a:prstGeom>
        </p:spPr>
      </p:pic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687388"/>
            <a:ext cx="4572000" cy="4572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12446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3496" y="390515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3B6BE-BD04-6717-A2F4-93B90D2F8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20EBA34-B0FF-DBC0-045B-B5B66EFA3EB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48075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blue squares on a black background&#10;&#10;Description automatically generated">
            <a:extLst>
              <a:ext uri="{FF2B5EF4-FFF2-40B4-BE49-F238E27FC236}">
                <a16:creationId xmlns:a16="http://schemas.microsoft.com/office/drawing/2014/main" id="{82EC82EF-3E6E-E271-E522-D403457BDB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74229" y="740229"/>
            <a:ext cx="6117771" cy="61177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1C54A4-7120-3603-B48A-3C23C424AA8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187656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rectangle with black border&#10;&#10;Description automatically generated">
            <a:extLst>
              <a:ext uri="{FF2B5EF4-FFF2-40B4-BE49-F238E27FC236}">
                <a16:creationId xmlns:a16="http://schemas.microsoft.com/office/drawing/2014/main" id="{8EF0AD21-194F-3CFE-20A0-FC3F89D15F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5822"/>
          <a:stretch/>
        </p:blipFill>
        <p:spPr>
          <a:xfrm>
            <a:off x="6089229" y="1261546"/>
            <a:ext cx="6102770" cy="5164297"/>
          </a:xfrm>
          <a:prstGeom prst="rect">
            <a:avLst/>
          </a:prstGeom>
        </p:spPr>
      </p:pic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480CAE2C-65D2-72C5-0D74-825ABBD21C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719106" y="861569"/>
            <a:ext cx="6473952" cy="4306824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45B326-1C84-D77B-065E-AA7C7E34FDA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375376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e square with black border&#10;&#10;Description automatically generated">
            <a:extLst>
              <a:ext uri="{FF2B5EF4-FFF2-40B4-BE49-F238E27FC236}">
                <a16:creationId xmlns:a16="http://schemas.microsoft.com/office/drawing/2014/main" id="{47BE3F58-CAAB-5707-08D5-68AEE1A17A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79628" y="1862868"/>
            <a:ext cx="5012372" cy="4995132"/>
          </a:xfrm>
          <a:prstGeom prst="rect">
            <a:avLst/>
          </a:prstGeom>
        </p:spPr>
      </p:pic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46520" y="1124712"/>
            <a:ext cx="4087368" cy="4087368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12446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3496" y="390515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3B6BE-BD04-6717-A2F4-93B90D2F8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D7C9A64-1433-09DB-3598-B26FBD63920B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434634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87FAD20-C231-D0C9-1404-B5C84F7032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5602" r="28360"/>
          <a:stretch/>
        </p:blipFill>
        <p:spPr>
          <a:xfrm>
            <a:off x="4649551" y="247439"/>
            <a:ext cx="7542449" cy="63631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A1C71EE-6D02-2C69-FCD6-00D6A254C5C9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329823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029AC916-8EE2-F611-6DC5-5ABC767786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2" r="21347"/>
          <a:stretch/>
        </p:blipFill>
        <p:spPr>
          <a:xfrm>
            <a:off x="5953961" y="441313"/>
            <a:ext cx="6238039" cy="5975374"/>
          </a:xfrm>
          <a:prstGeom prst="rect">
            <a:avLst/>
          </a:prstGeom>
        </p:spPr>
      </p:pic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D65487F1-C21A-94A8-1632-58F818A2E1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34712" y="441313"/>
            <a:ext cx="5970270" cy="5970270"/>
          </a:xfrm>
          <a:prstGeom prst="diamond">
            <a:avLst/>
          </a:prstGeom>
          <a:solidFill>
            <a:schemeClr val="accent2">
              <a:lumMod val="75000"/>
            </a:schemeClr>
          </a:solidFill>
        </p:spPr>
        <p:txBody>
          <a:bodyPr anchor="ctr"/>
          <a:lstStyle>
            <a:lvl1pPr algn="ctr">
              <a:defRPr sz="1200" b="0"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071D2F-74BD-7611-B1AB-F968A8BE23D3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42605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CC9EAA6-3D88-AEBF-2942-B913A8C71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00D1AF-46DD-4C79-A1D5-74258831387C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BD1A3D-B848-8C89-C3D3-9CAFFCCA62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7C66FC-B2D4-C795-8F21-CCA053960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E6CA6-941C-4361-9EC3-9B98B9D378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330526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25FAC0F-D95A-58F0-6CC0-6EB4B98A9F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2" r="21347"/>
          <a:stretch/>
        </p:blipFill>
        <p:spPr>
          <a:xfrm>
            <a:off x="5953961" y="441313"/>
            <a:ext cx="6238039" cy="5975374"/>
          </a:xfrm>
          <a:prstGeom prst="rect">
            <a:avLst/>
          </a:prstGeom>
        </p:spPr>
      </p:pic>
      <p:sp>
        <p:nvSpPr>
          <p:cNvPr id="10" name="Picture Placeholder 17">
            <a:extLst>
              <a:ext uri="{FF2B5EF4-FFF2-40B4-BE49-F238E27FC236}">
                <a16:creationId xmlns:a16="http://schemas.microsoft.com/office/drawing/2014/main" id="{F32BC729-F69F-41DF-21E9-706F0EA9AE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34712" y="441313"/>
            <a:ext cx="5970270" cy="5970270"/>
          </a:xfrm>
          <a:prstGeom prst="diamond">
            <a:avLst/>
          </a:prstGeom>
          <a:solidFill>
            <a:schemeClr val="accent2">
              <a:lumMod val="75000"/>
            </a:schemeClr>
          </a:solidFill>
        </p:spPr>
        <p:txBody>
          <a:bodyPr anchor="ctr"/>
          <a:lstStyle>
            <a:lvl1pPr algn="ctr">
              <a:defRPr sz="1200" b="0"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12446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3496" y="390515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3B6BE-BD04-6717-A2F4-93B90D2F8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DB9BB4-07BC-0859-6039-0BBA35F9A119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891672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yellow and black background&#10;&#10;Description automatically generated">
            <a:extLst>
              <a:ext uri="{FF2B5EF4-FFF2-40B4-BE49-F238E27FC236}">
                <a16:creationId xmlns:a16="http://schemas.microsoft.com/office/drawing/2014/main" id="{F0FD70F6-C90D-F610-3F1E-0731264A12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8B8578-8536-95E2-05DB-327FD1D512A9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956853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yellow and black background&#10;&#10;Description automatically generated">
            <a:extLst>
              <a:ext uri="{FF2B5EF4-FFF2-40B4-BE49-F238E27FC236}">
                <a16:creationId xmlns:a16="http://schemas.microsoft.com/office/drawing/2014/main" id="{3A7C5441-32E0-4544-E941-82FA49B250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0" y="2340864"/>
            <a:ext cx="6096000" cy="4517136"/>
          </a:xfrm>
          <a:prstGeom prst="rect">
            <a:avLst/>
          </a:prstGeom>
        </p:spPr>
      </p:pic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17F08B4-6B39-CF48-5659-86BE4E75B2A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2953" y="-904"/>
            <a:ext cx="6099048" cy="4169663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9581DAB-032B-E5BD-8987-56002ABB5F4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864451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yellow square with black border&#10;&#10;Description automatically generated">
            <a:extLst>
              <a:ext uri="{FF2B5EF4-FFF2-40B4-BE49-F238E27FC236}">
                <a16:creationId xmlns:a16="http://schemas.microsoft.com/office/drawing/2014/main" id="{A746F025-622C-F9C4-F01F-8E059EE432F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3927" y="1601258"/>
            <a:ext cx="5708073" cy="5256742"/>
          </a:xfrm>
          <a:prstGeom prst="rect">
            <a:avLst/>
          </a:prstGeom>
        </p:spPr>
      </p:pic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92AE0D8B-6181-B3E9-637E-BC0FD1A0392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86144" y="0"/>
            <a:ext cx="5705856" cy="4498848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12446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3496" y="390515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3B6BE-BD04-6717-A2F4-93B90D2F8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E42C435-236B-6B1A-CB9A-786200853C60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829277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urple square with a black background&#10;&#10;Description automatically generated">
            <a:extLst>
              <a:ext uri="{FF2B5EF4-FFF2-40B4-BE49-F238E27FC236}">
                <a16:creationId xmlns:a16="http://schemas.microsoft.com/office/drawing/2014/main" id="{AFA87D52-7641-5C67-D0A0-357D54896C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26626" y="0"/>
            <a:ext cx="6865374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241A7A37-C1DB-45A9-BBB2-A84ACE394FA4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932865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e square with black border&#10;&#10;Description automatically generated">
            <a:extLst>
              <a:ext uri="{FF2B5EF4-FFF2-40B4-BE49-F238E27FC236}">
                <a16:creationId xmlns:a16="http://schemas.microsoft.com/office/drawing/2014/main" id="{00345FF7-0213-C5E9-C74B-74C47815E5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26626" y="0"/>
            <a:ext cx="6865374" cy="6858000"/>
          </a:xfrm>
          <a:prstGeom prst="rect">
            <a:avLst/>
          </a:prstGeom>
        </p:spPr>
      </p:pic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D9D04C40-7BA3-33A2-73DB-7EEC68C372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97889" y="946880"/>
            <a:ext cx="4965192" cy="493776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0B8DA0-78D9-FF55-A7E3-8EBF5D6B70F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510330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square with a black border&#10;&#10;Description automatically generated">
            <a:extLst>
              <a:ext uri="{FF2B5EF4-FFF2-40B4-BE49-F238E27FC236}">
                <a16:creationId xmlns:a16="http://schemas.microsoft.com/office/drawing/2014/main" id="{0DE8F8A1-FFC0-5D5D-34C4-0DE35D7B68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V="1">
            <a:off x="6020520" y="682170"/>
            <a:ext cx="6171479" cy="6175829"/>
          </a:xfrm>
          <a:prstGeom prst="rect">
            <a:avLst/>
          </a:prstGeom>
        </p:spPr>
      </p:pic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92AE0D8B-6181-B3E9-637E-BC0FD1A0392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37960" y="1234440"/>
            <a:ext cx="3566160" cy="356616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12446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3496" y="390515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3B6BE-BD04-6717-A2F4-93B90D2F8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19B1D3-3CB1-4569-86DA-F998D2D47E5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589549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646540-98CB-5408-4AF4-6AAE56CA6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F8BAFA-0B4A-0B1A-194A-7F5D5DD1B2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D3C1B1-9C22-69B6-EDDC-2FEAE4713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367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4AC5CC-1AFC-7515-DE7F-E3415E6E5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85A85F-F296-CFA1-2111-33C968E5B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64241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3FF5C02B-D6A8-F290-2E29-F96B58D53A3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accent2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4AC5CC-1AFC-7515-DE7F-E3415E6E5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85A85F-F296-CFA1-2111-33C968E5B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81970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BD58F8-13D9-BF7F-1F55-40533BB2C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FDF880-5EE6-588E-08CB-3CFE65E195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129BCC-E992-6234-2764-A82DE3CDB8C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272B09-7995-E7F3-27A0-6359C1E581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00D1AF-46DD-4C79-A1D5-74258831387C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B629F0-4A20-0B99-FE43-9319CA674B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249789-6E1D-D314-5103-33D26B491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E6CA6-941C-4361-9EC3-9B98B9D378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60532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646540-98CB-5408-4AF4-6AAE56CA6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F8BAFA-0B4A-0B1A-194A-7F5D5DD1B2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D3C1B1-9C22-69B6-EDDC-2FEAE4713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70952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86F1FEC-FC9B-5A24-ADFD-E96F5845B44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82000" y="0"/>
            <a:ext cx="3810000" cy="6858000"/>
          </a:xfrm>
          <a:solidFill>
            <a:schemeClr val="accent2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646540-98CB-5408-4AF4-6AAE56CA6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F8BAFA-0B4A-0B1A-194A-7F5D5DD1B2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D3C1B1-9C22-69B6-EDDC-2FEAE4713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003126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4AC5CC-1AFC-7515-DE7F-E3415E6E5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85A85F-F296-CFA1-2111-33C968E5B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85967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1B6915-BF75-E111-D330-1DD70CBAEC65}"/>
              </a:ext>
            </a:extLst>
          </p:cNvPr>
          <p:cNvSpPr txBox="1"/>
          <p:nvPr userDrawn="1"/>
        </p:nvSpPr>
        <p:spPr>
          <a:xfrm>
            <a:off x="473308" y="4224144"/>
            <a:ext cx="498566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8000" dirty="0">
                <a:solidFill>
                  <a:schemeClr val="accent2"/>
                </a:solidFill>
                <a:latin typeface="Georgia" panose="02040502050405020303" pitchFamily="18" charset="0"/>
              </a:rPr>
              <a:t>Thank you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5F04A9-7FB4-206D-6D50-251EE16E2B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1394" r="19041"/>
          <a:stretch/>
        </p:blipFill>
        <p:spPr>
          <a:xfrm>
            <a:off x="6111018" y="0"/>
            <a:ext cx="6097064" cy="587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68855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4835" cy="63649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63FB08-913E-A540-03AA-E526F6B296D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6405279" cy="500719"/>
          </a:xfrm>
        </p:spPr>
        <p:txBody>
          <a:bodyPr anchor="t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A8548A8-495E-F717-2EC6-8E21593DA2C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700934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340213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1" y="2121408"/>
            <a:ext cx="6405279" cy="3660827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0BB9A353-2E47-AA6F-BFD6-AE895167D4BF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179101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6D797A-F7E6-B4A1-BF93-DE389A1911B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87563" y="6198594"/>
            <a:ext cx="2743200" cy="187170"/>
          </a:xfrm>
          <a:prstGeom prst="rect">
            <a:avLst/>
          </a:prstGeom>
        </p:spPr>
        <p:txBody>
          <a:bodyPr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5665DFC-E6E1-AC46-8C75-398C3AC7E5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7544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9F034-E124-BC96-FA83-DBF24986D7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C92D11B-D9DE-1620-5C43-AB47FADD30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B08B68-318E-D53D-9A64-DA7FDEF50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0EBF5-8930-6E46-BD94-2072768F54A7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4A4D88-D36E-7869-5040-56E513A591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6660A0-9831-070D-345B-AEBD5C9F46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40BEB-13E5-7445-970B-1DB494E849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605793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5A72DB-07C8-CDA7-1A47-C2C257D32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6AC2B2-4D19-A155-535F-A2CC25FCE1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0A31EB-B405-5177-2438-E4E3AE52C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0EBF5-8930-6E46-BD94-2072768F54A7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9600A2-DA85-2F27-180E-8D9A4E7BAB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0689D8-9045-2F46-41E7-C7D7CB2B0B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40BEB-13E5-7445-970B-1DB494E849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8965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714A15-E1C4-5325-DA39-F374E13DF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E371BDA-E20E-A843-1C68-E20554ACBCA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01D655-C3C2-366B-1B6F-BF3917930E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26FA59-1BDF-E3C6-7CA5-443E3EF726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00D1AF-46DD-4C79-A1D5-74258831387C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BAC525-7F24-6498-AFE6-F9776AB18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C34E15-956A-6B80-800C-CF87A34F4E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E6CA6-941C-4361-9EC3-9B98B9D378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466593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4446E1-F116-0EB8-CF08-7D0A64535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6B016-C856-5C71-5BEE-93B1DD5454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D1CBD2-0F0B-E52F-0AA0-D601693791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0EBF5-8930-6E46-BD94-2072768F54A7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1B4AB0-7C42-F396-0642-B62900D79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6827AC-E48C-354C-E87C-34538274F7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40BEB-13E5-7445-970B-1DB494E849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734158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10C3C0-FD80-F542-F5D2-4F490C1996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D409FD-6716-4A95-855B-663BE7514F5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E61436-801E-7E0F-5FEC-0E9C8079F3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E6AED5-1C67-6B1E-CA3A-BBA0D394DD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0EBF5-8930-6E46-BD94-2072768F54A7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6A5F68-AC71-BEFA-792C-2D47FEDB5A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19A0CD-9690-3AE0-A096-1EC087B062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40BEB-13E5-7445-970B-1DB494E849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746133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969F0E-E452-0FBB-C760-1CC20297FA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56FB7C-DDB4-3132-48A8-07948FEE03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42EE84-FE62-16F7-3C24-1D50D5AF40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B5AFE4-5068-D81B-B6E3-A9FC2EC4525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C510795-94E2-D11C-58CA-E9593A7F797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90EEF8F-2574-2DE0-135B-1E738EDB2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0EBF5-8930-6E46-BD94-2072768F54A7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B2C55BD-B2D5-2BB4-AED1-7063139E1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C799F14-1EA7-BF7B-A3DC-5B16E96E4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40BEB-13E5-7445-970B-1DB494E849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58166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200C76-44DB-BBAD-4252-ABBEBEC87D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4D9972-500E-0781-2527-F668E843C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0EBF5-8930-6E46-BD94-2072768F54A7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D37C73-D90B-ADD4-E1C1-255C4D7D69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6F725D-1108-B2AB-724A-46E7D0798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40BEB-13E5-7445-970B-1DB494E849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30476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71FE96F-DCF8-620F-8D8A-38369FE97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0EBF5-8930-6E46-BD94-2072768F54A7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FFFDA5-BEC4-9DF0-699F-12DCA201E9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8EC48F-978D-C8C3-8F62-83B255C42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40BEB-13E5-7445-970B-1DB494E849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36045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1BC1EE-D51C-F7DD-C95B-DD6D7DBFC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347A8C-83BD-EB53-24A5-832F7FD6FC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1C76F7-3E04-89DB-2AA5-8EF2D5C0B0D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96AD847-7EBE-02F1-845E-46DB548D8F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0EBF5-8930-6E46-BD94-2072768F54A7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79DF077-0D6E-B1D6-ACEA-49F5809FB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7BF29D7-3232-6C87-C51E-6B54D3093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40BEB-13E5-7445-970B-1DB494E849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61835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ACC63-C5F5-5374-2CC2-B8444CE0A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DCE58D6-E7AC-D597-D810-8D7BDECFE32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73191A-A3CE-9811-11AC-F97F7A7862D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7276F1-0C19-4454-C2DF-80AF2CF2AF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0EBF5-8930-6E46-BD94-2072768F54A7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B0EDE7-F378-6978-34B9-52B91F57F7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BABDE9-2239-CA0D-451A-F9CECA535E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40BEB-13E5-7445-970B-1DB494E849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71494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5CD0BD-0C8D-84BD-936E-5D035565C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A661587-D732-BC07-58AB-323CD7089E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A365B1-C7EC-9C67-17CB-F1FB81FAD8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0EBF5-8930-6E46-BD94-2072768F54A7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AAB5F0-905F-831D-BA72-E2ED6CA9D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151BAE-2527-7F34-106A-DEEEF402B6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40BEB-13E5-7445-970B-1DB494E849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434744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4806F7F-3742-47F5-80A9-8C18A0608CC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F1131FB-9E9B-C3FA-DA65-4923D48FEC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2F87FE-0B71-EBE8-DE88-AE5C579EFE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0EBF5-8930-6E46-BD94-2072768F54A7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50936A-9482-56BC-DFF5-529EEF1A13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D83015-C133-F2C7-6856-1387197D5A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40BEB-13E5-7445-970B-1DB494E849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3693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32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63" Type="http://schemas.openxmlformats.org/officeDocument/2006/relationships/slideLayout" Target="../slideLayouts/slideLayout74.xml"/><Relationship Id="rId68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slideLayout" Target="../slideLayouts/slideLayout77.xml"/><Relationship Id="rId74" Type="http://schemas.openxmlformats.org/officeDocument/2006/relationships/slideLayout" Target="../slideLayouts/slideLayout85.xml"/><Relationship Id="rId79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61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slideLayout" Target="../slideLayouts/slideLayout75.xml"/><Relationship Id="rId69" Type="http://schemas.openxmlformats.org/officeDocument/2006/relationships/slideLayout" Target="../slideLayouts/slideLayout80.xml"/><Relationship Id="rId77" Type="http://schemas.openxmlformats.org/officeDocument/2006/relationships/theme" Target="../theme/theme2.x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72" Type="http://schemas.openxmlformats.org/officeDocument/2006/relationships/slideLayout" Target="../slideLayouts/slideLayout83.xml"/><Relationship Id="rId80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67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slideLayout" Target="../slideLayouts/slideLayout73.xml"/><Relationship Id="rId70" Type="http://schemas.openxmlformats.org/officeDocument/2006/relationships/slideLayout" Target="../slideLayouts/slideLayout81.xml"/><Relationship Id="rId75" Type="http://schemas.openxmlformats.org/officeDocument/2006/relationships/slideLayout" Target="../slideLayouts/slideLayout86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slideLayout" Target="../slideLayouts/slideLayout76.xml"/><Relationship Id="rId73" Type="http://schemas.openxmlformats.org/officeDocument/2006/relationships/slideLayout" Target="../slideLayouts/slideLayout84.xml"/><Relationship Id="rId78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9" Type="http://schemas.openxmlformats.org/officeDocument/2006/relationships/slideLayout" Target="../slideLayouts/slideLayout50.xml"/><Relationship Id="rId34" Type="http://schemas.openxmlformats.org/officeDocument/2006/relationships/slideLayout" Target="../slideLayouts/slideLayout45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76" Type="http://schemas.openxmlformats.org/officeDocument/2006/relationships/slideLayout" Target="../slideLayouts/slideLayout87.xml"/><Relationship Id="rId7" Type="http://schemas.openxmlformats.org/officeDocument/2006/relationships/slideLayout" Target="../slideLayouts/slideLayout18.xml"/><Relationship Id="rId71" Type="http://schemas.openxmlformats.org/officeDocument/2006/relationships/slideLayout" Target="../slideLayouts/slideLayout82.xml"/><Relationship Id="rId2" Type="http://schemas.openxmlformats.org/officeDocument/2006/relationships/slideLayout" Target="../slideLayouts/slideLayout13.xml"/><Relationship Id="rId29" Type="http://schemas.openxmlformats.org/officeDocument/2006/relationships/slideLayout" Target="../slideLayouts/slideLayout4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A0C2F5E-320A-F4F3-7599-6EBE40C193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403821-6922-077F-056A-3330400754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86EE55-E629-8B3D-5AD2-454C3DE173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A00D1AF-46DD-4C79-A1D5-74258831387C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FAACB7-AAD0-BC93-A055-65363190A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93A3A3-4873-5019-0D6F-46905B0086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2EE6CA6-941C-4361-9EC3-9B98B9D378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095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569C5E1-DA73-22DB-EA7C-9D58FE7DAD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8"/>
            </p:custDataLst>
            <p:extLst>
              <p:ext uri="{D42A27DB-BD31-4B8C-83A1-F6EECF244321}">
                <p14:modId xmlns:p14="http://schemas.microsoft.com/office/powerpoint/2010/main" val="306184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9" imgW="350" imgH="350" progId="TCLayout.ActiveDocument.1">
                  <p:embed/>
                </p:oleObj>
              </mc:Choice>
              <mc:Fallback>
                <p:oleObj name="think-cell Slide" r:id="rId79" imgW="350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69C5E1-DA73-22DB-EA7C-9D58FE7DAD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13E34A6-3F36-88C1-F6E7-AC05F1838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170FD3-69C5-60E5-F1C1-4B0A90FD61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5121" y="2590799"/>
            <a:ext cx="6405279" cy="33348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091380-E843-CE48-D303-FC3D4517C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5121" y="6236208"/>
            <a:ext cx="41148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6B6635-50D3-3569-BBA4-4C5D8A471F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52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34" r:id="rId74"/>
    <p:sldLayoutId id="2147483735" r:id="rId75"/>
    <p:sldLayoutId id="2147483736" r:id="rId7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spcAft>
          <a:spcPts val="0"/>
        </a:spcAft>
        <a:buFont typeface="Arial" panose="020B0604020202020204" pitchFamily="34" charset="0"/>
        <a:buNone/>
        <a:defRPr sz="1400" b="1" i="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</a:defRPr>
      </a:lvl1pPr>
      <a:lvl2pPr marL="7938" indent="0" algn="l" defTabSz="914400" rtl="0" eaLnBrk="1" latinLnBrk="0" hangingPunct="1">
        <a:lnSpc>
          <a:spcPct val="100000"/>
        </a:lnSpc>
        <a:spcBef>
          <a:spcPts val="1400"/>
        </a:spcBef>
        <a:spcAft>
          <a:spcPts val="0"/>
        </a:spcAft>
        <a:buFont typeface="Arial" panose="020B0604020202020204" pitchFamily="34" charset="0"/>
        <a:buNone/>
        <a:tabLst/>
        <a:defRPr sz="1400" b="0" i="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</a:defRPr>
      </a:lvl2pPr>
      <a:lvl3pPr marL="231775" indent="-223838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400" b="0" i="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</a:defRPr>
      </a:lvl3pPr>
      <a:lvl4pPr marL="687388" indent="-22383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tabLst/>
        <a:defRPr sz="1400" b="0" i="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</a:defRPr>
      </a:lvl4pPr>
      <a:lvl5pPr marL="687388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tabLst/>
        <a:defRPr sz="1400" b="0" i="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2112">
          <p15:clr>
            <a:srgbClr val="F26B43"/>
          </p15:clr>
        </p15:guide>
        <p15:guide id="5" pos="5568">
          <p15:clr>
            <a:srgbClr val="F26B43"/>
          </p15:clr>
        </p15:guide>
        <p15:guide id="6" pos="7296">
          <p15:clr>
            <a:srgbClr val="F26B43"/>
          </p15:clr>
        </p15:guide>
        <p15:guide id="7" orient="horz" pos="3888">
          <p15:clr>
            <a:srgbClr val="F26B43"/>
          </p15:clr>
        </p15:guide>
        <p15:guide id="8" orient="horz" pos="43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927895B-F78F-C3DB-E656-B12E7F986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C0A631-4CB9-1F51-E881-4612BA33B6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94F81D-8B9D-D95A-68E7-C6E2F9C6CF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F0EBF5-8930-6E46-BD94-2072768F54A7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BA02EA-17B5-A0F4-9BEA-4B7CAA32DA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A387F9-B5F5-D68E-C9AB-7AB0B22B0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140BEB-13E5-7445-970B-1DB494E849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840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2.xml"/><Relationship Id="rId1" Type="http://schemas.openxmlformats.org/officeDocument/2006/relationships/tags" Target="../tags/tag2.xml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2.xml"/><Relationship Id="rId1" Type="http://schemas.openxmlformats.org/officeDocument/2006/relationships/tags" Target="../tags/tag4.xml"/><Relationship Id="rId5" Type="http://schemas.openxmlformats.org/officeDocument/2006/relationships/image" Target="../media/image28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82.xml"/><Relationship Id="rId1" Type="http://schemas.openxmlformats.org/officeDocument/2006/relationships/tags" Target="../tags/tag5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E8B33D-27E2-D9AB-2539-4480B2A75F1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New CFA Excel Conten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3FB9CDB-2C2E-4248-6C60-F5C1929D764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From FEA Annual Meeting Keynote</a:t>
            </a:r>
          </a:p>
          <a:p>
            <a:r>
              <a:rPr lang="en-US" dirty="0"/>
              <a:t>Partial Presentation by Rob Langrick, CFAI</a:t>
            </a:r>
          </a:p>
        </p:txBody>
      </p:sp>
    </p:spTree>
    <p:extLst>
      <p:ext uri="{BB962C8B-B14F-4D97-AF65-F5344CB8AC3E}">
        <p14:creationId xmlns:p14="http://schemas.microsoft.com/office/powerpoint/2010/main" val="11412832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5">
            <a:extLst>
              <a:ext uri="{FF2B5EF4-FFF2-40B4-BE49-F238E27FC236}">
                <a16:creationId xmlns:a16="http://schemas.microsoft.com/office/drawing/2014/main" id="{A7E0F145-A212-4B41-04C9-35EC23448BAE}"/>
              </a:ext>
            </a:extLst>
          </p:cNvPr>
          <p:cNvSpPr txBox="1">
            <a:spLocks/>
          </p:cNvSpPr>
          <p:nvPr/>
        </p:nvSpPr>
        <p:spPr>
          <a:xfrm>
            <a:off x="485694" y="486318"/>
            <a:ext cx="11220610" cy="104612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accent2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Georgia" panose="02040502050405020303" pitchFamily="18" charset="0"/>
                <a:ea typeface="+mj-ea"/>
                <a:cs typeface="+mj-cs"/>
              </a:rPr>
              <a:t>CFA Program – one of the world’s largest finance credentials - services dozens of job roles across four quadrant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675B963-7973-D4EC-478A-3D9EC132363A}"/>
              </a:ext>
            </a:extLst>
          </p:cNvPr>
          <p:cNvGrpSpPr/>
          <p:nvPr/>
        </p:nvGrpSpPr>
        <p:grpSpPr>
          <a:xfrm>
            <a:off x="1825222" y="1659195"/>
            <a:ext cx="8541555" cy="4917167"/>
            <a:chOff x="1825222" y="1472929"/>
            <a:chExt cx="8541555" cy="4917167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DCDCC51-8CE5-2D48-5DC7-66A6E551E7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2258" t="23325" r="16737" b="14242"/>
            <a:stretch/>
          </p:blipFill>
          <p:spPr>
            <a:xfrm>
              <a:off x="1825222" y="1472929"/>
              <a:ext cx="8541555" cy="4917167"/>
            </a:xfrm>
            <a:prstGeom prst="rect">
              <a:avLst/>
            </a:prstGeom>
          </p:spPr>
        </p:pic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6F45F225-E1A8-A976-0225-F9448B04E9E0}"/>
                </a:ext>
              </a:extLst>
            </p:cNvPr>
            <p:cNvGrpSpPr/>
            <p:nvPr/>
          </p:nvGrpSpPr>
          <p:grpSpPr>
            <a:xfrm>
              <a:off x="1897039" y="1528549"/>
              <a:ext cx="875732" cy="350290"/>
              <a:chOff x="1897039" y="1528549"/>
              <a:chExt cx="875732" cy="350290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BE224043-4800-631D-1F2A-98D0A5834F92}"/>
                  </a:ext>
                </a:extLst>
              </p:cNvPr>
              <p:cNvSpPr/>
              <p:nvPr/>
            </p:nvSpPr>
            <p:spPr>
              <a:xfrm>
                <a:off x="1897039" y="1528549"/>
                <a:ext cx="682388" cy="341194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6EBD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D2D25E6B-D864-5DEA-A4D0-7150CFBC2C34}"/>
                  </a:ext>
                </a:extLst>
              </p:cNvPr>
              <p:cNvSpPr/>
              <p:nvPr/>
            </p:nvSpPr>
            <p:spPr>
              <a:xfrm>
                <a:off x="2090383" y="1726439"/>
                <a:ext cx="682388" cy="152400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6EBD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581197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60000"/>
            <a:lumOff val="4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D454413-D274-68A6-227E-D7A752357B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9B8455B-0270-DECA-7FCE-2330514446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B8455B-0270-DECA-7FCE-2330514446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DEC302A3-5D3F-CBF1-F6CA-01232741EE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3504" y="4138488"/>
            <a:ext cx="5219446" cy="1661993"/>
          </a:xfrm>
        </p:spPr>
        <p:txBody>
          <a:bodyPr vert="horz"/>
          <a:lstStyle/>
          <a:p>
            <a:r>
              <a:rPr lang="en-US" sz="5400" dirty="0"/>
              <a:t>We have barely begun to weave toolkits into </a:t>
            </a:r>
            <a:r>
              <a:rPr lang="en-US" sz="5400" i="1" dirty="0"/>
              <a:t>the curriculum itself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DB5A25-FB20-4992-6E60-B895CE4CC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5806300"/>
            <a:ext cx="457200" cy="15388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37C41-61FD-5349-A192-9970B0AFE414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831B0FA-7F54-745F-C03B-E582CFC2550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6EBD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5BAAC9E2-FAA6-01D5-2E38-3C877DE43E91}"/>
              </a:ext>
            </a:extLst>
          </p:cNvPr>
          <p:cNvSpPr txBox="1">
            <a:spLocks/>
          </p:cNvSpPr>
          <p:nvPr/>
        </p:nvSpPr>
        <p:spPr>
          <a:xfrm>
            <a:off x="274179" y="492483"/>
            <a:ext cx="11729028" cy="63649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accent2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Georgia" panose="02040502050405020303" pitchFamily="18" charset="0"/>
                <a:ea typeface="+mj-ea"/>
                <a:cs typeface="+mj-cs"/>
              </a:rPr>
              <a:t>Junior finance professionals spend much of their professional lives in Excel - building a relatively small handful of artefac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3E61676-7870-1E6A-945A-A5AFD84E55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13138" y="2150367"/>
            <a:ext cx="7535140" cy="285431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137EDA04-7242-A675-4887-F2ABD17A9DD6}"/>
              </a:ext>
            </a:extLst>
          </p:cNvPr>
          <p:cNvSpPr/>
          <p:nvPr/>
        </p:nvSpPr>
        <p:spPr>
          <a:xfrm>
            <a:off x="3000297" y="1218737"/>
            <a:ext cx="1451337" cy="342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r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2FBF552-F2AE-F2C8-80F0-69AC6E9BC6EF}"/>
              </a:ext>
            </a:extLst>
          </p:cNvPr>
          <p:cNvSpPr/>
          <p:nvPr/>
        </p:nvSpPr>
        <p:spPr>
          <a:xfrm>
            <a:off x="823291" y="1546855"/>
            <a:ext cx="1451337" cy="342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-forma company accoun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825849C-1116-8EBB-4210-3101C3025B8B}"/>
              </a:ext>
            </a:extLst>
          </p:cNvPr>
          <p:cNvSpPr/>
          <p:nvPr/>
        </p:nvSpPr>
        <p:spPr>
          <a:xfrm>
            <a:off x="1487470" y="5419917"/>
            <a:ext cx="1451337" cy="342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lculator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9F9EBC1-47D6-BD2B-38EA-56B8CBEB247B}"/>
              </a:ext>
            </a:extLst>
          </p:cNvPr>
          <p:cNvSpPr/>
          <p:nvPr/>
        </p:nvSpPr>
        <p:spPr>
          <a:xfrm>
            <a:off x="3393611" y="5661028"/>
            <a:ext cx="1451337" cy="342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lendar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8D748C1-66E6-11F5-1436-AC49F9973207}"/>
              </a:ext>
            </a:extLst>
          </p:cNvPr>
          <p:cNvSpPr/>
          <p:nvPr/>
        </p:nvSpPr>
        <p:spPr>
          <a:xfrm>
            <a:off x="4899414" y="1661441"/>
            <a:ext cx="1451337" cy="342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shboard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D86D1F4-89E8-FDC8-6672-22E5E9E50481}"/>
              </a:ext>
            </a:extLst>
          </p:cNvPr>
          <p:cNvSpPr/>
          <p:nvPr/>
        </p:nvSpPr>
        <p:spPr>
          <a:xfrm>
            <a:off x="5243875" y="5235810"/>
            <a:ext cx="1451337" cy="342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tmap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49AFEF4-8D14-64C6-4024-0811AD52EE2E}"/>
              </a:ext>
            </a:extLst>
          </p:cNvPr>
          <p:cNvSpPr/>
          <p:nvPr/>
        </p:nvSpPr>
        <p:spPr>
          <a:xfrm>
            <a:off x="6655431" y="1179219"/>
            <a:ext cx="1451337" cy="342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nitor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EC7DAD-26C0-0E6D-8E53-C6C51D464FA8}"/>
              </a:ext>
            </a:extLst>
          </p:cNvPr>
          <p:cNvSpPr/>
          <p:nvPr/>
        </p:nvSpPr>
        <p:spPr>
          <a:xfrm>
            <a:off x="6733758" y="5599753"/>
            <a:ext cx="1451337" cy="342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or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11D85FE-3B18-6446-50BC-2363E48C73E2}"/>
              </a:ext>
            </a:extLst>
          </p:cNvPr>
          <p:cNvSpPr/>
          <p:nvPr/>
        </p:nvSpPr>
        <p:spPr>
          <a:xfrm>
            <a:off x="8466035" y="1399858"/>
            <a:ext cx="1451337" cy="342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hedu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7BE5BA6-17E4-8FD3-55BA-E0B86990D324}"/>
              </a:ext>
            </a:extLst>
          </p:cNvPr>
          <p:cNvSpPr/>
          <p:nvPr/>
        </p:nvSpPr>
        <p:spPr>
          <a:xfrm>
            <a:off x="8373768" y="5110707"/>
            <a:ext cx="1451337" cy="342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bl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D457F72-5167-8B9E-E282-F0B5E09FEA33}"/>
              </a:ext>
            </a:extLst>
          </p:cNvPr>
          <p:cNvSpPr/>
          <p:nvPr/>
        </p:nvSpPr>
        <p:spPr>
          <a:xfrm>
            <a:off x="10310761" y="1661442"/>
            <a:ext cx="1451337" cy="342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arsheet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2E14C61-DDFC-36E4-B4C9-DAC07AA51134}"/>
              </a:ext>
            </a:extLst>
          </p:cNvPr>
          <p:cNvSpPr/>
          <p:nvPr/>
        </p:nvSpPr>
        <p:spPr>
          <a:xfrm>
            <a:off x="10034248" y="5617951"/>
            <a:ext cx="1451337" cy="342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enario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A3C84FE-92D9-5D7E-85EA-D9F467CF61D9}"/>
              </a:ext>
            </a:extLst>
          </p:cNvPr>
          <p:cNvSpPr/>
          <p:nvPr/>
        </p:nvSpPr>
        <p:spPr>
          <a:xfrm>
            <a:off x="990687" y="6114788"/>
            <a:ext cx="10603088" cy="4986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cel is “where the rubber meets the road” in most junior finance roles</a:t>
            </a:r>
          </a:p>
        </p:txBody>
      </p:sp>
      <p:sp>
        <p:nvSpPr>
          <p:cNvPr id="24" name="Rectangle 257">
            <a:extLst>
              <a:ext uri="{FF2B5EF4-FFF2-40B4-BE49-F238E27FC236}">
                <a16:creationId xmlns:a16="http://schemas.microsoft.com/office/drawing/2014/main" id="{D8499162-FF3D-959B-6879-3F605E79CA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68525" y="1249829"/>
            <a:ext cx="1763713" cy="287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defTabSz="881063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defTabSz="881063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defTabSz="881063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defTabSz="881063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defTabSz="881063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ctr" defTabSz="881063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300" b="1" i="0" u="none" strike="noStrike" kern="12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Verdana" panose="020B0604030504040204" pitchFamily="34" charset="0"/>
                <a:ea typeface="SimSun" panose="02010600030101010101" pitchFamily="2" charset="-122"/>
                <a:cs typeface="+mn-cs"/>
              </a:rPr>
              <a:t>ILLUSTRATIVE</a:t>
            </a:r>
          </a:p>
        </p:txBody>
      </p:sp>
      <p:sp>
        <p:nvSpPr>
          <p:cNvPr id="25" name="Line 259">
            <a:extLst>
              <a:ext uri="{FF2B5EF4-FFF2-40B4-BE49-F238E27FC236}">
                <a16:creationId xmlns:a16="http://schemas.microsoft.com/office/drawing/2014/main" id="{8E62A33B-9802-C3E5-F493-B16558AA25C4}"/>
              </a:ext>
            </a:extLst>
          </p:cNvPr>
          <p:cNvSpPr>
            <a:spLocks noChangeShapeType="1"/>
          </p:cNvSpPr>
          <p:nvPr/>
        </p:nvSpPr>
        <p:spPr bwMode="auto">
          <a:xfrm>
            <a:off x="10298688" y="1287929"/>
            <a:ext cx="17018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Line 260">
            <a:extLst>
              <a:ext uri="{FF2B5EF4-FFF2-40B4-BE49-F238E27FC236}">
                <a16:creationId xmlns:a16="http://schemas.microsoft.com/office/drawing/2014/main" id="{4EBFF913-ADF0-0526-5238-9FC1E2CAB3F2}"/>
              </a:ext>
            </a:extLst>
          </p:cNvPr>
          <p:cNvSpPr>
            <a:spLocks noChangeShapeType="1"/>
          </p:cNvSpPr>
          <p:nvPr/>
        </p:nvSpPr>
        <p:spPr bwMode="auto">
          <a:xfrm>
            <a:off x="10298688" y="1256179"/>
            <a:ext cx="17018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Line 261">
            <a:extLst>
              <a:ext uri="{FF2B5EF4-FFF2-40B4-BE49-F238E27FC236}">
                <a16:creationId xmlns:a16="http://schemas.microsoft.com/office/drawing/2014/main" id="{25AE97F5-7CAC-CEA3-1D5F-08D7A906109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298688" y="1505416"/>
            <a:ext cx="17018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Line 262">
            <a:extLst>
              <a:ext uri="{FF2B5EF4-FFF2-40B4-BE49-F238E27FC236}">
                <a16:creationId xmlns:a16="http://schemas.microsoft.com/office/drawing/2014/main" id="{C6AABC71-B680-D69A-012D-068423BA678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298688" y="1535579"/>
            <a:ext cx="17018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33411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60000"/>
            <a:lumOff val="4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AB0F7C1-A590-293A-A821-7BC46D6468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96783C8-4CDD-1B97-7F73-D9962BD514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6783C8-4CDD-1B97-7F73-D9962BD514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5E40E272-5EB8-8099-1214-82121D2513A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6EBD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602B2E41-AD60-190E-14EB-C1EAF69AF5FE}"/>
              </a:ext>
            </a:extLst>
          </p:cNvPr>
          <p:cNvSpPr txBox="1">
            <a:spLocks/>
          </p:cNvSpPr>
          <p:nvPr/>
        </p:nvSpPr>
        <p:spPr>
          <a:xfrm>
            <a:off x="274179" y="492483"/>
            <a:ext cx="11729028" cy="63649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accent2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Georgia" panose="02040502050405020303" pitchFamily="18" charset="0"/>
                <a:ea typeface="+mj-ea"/>
                <a:cs typeface="+mj-cs"/>
              </a:rPr>
              <a:t>Excel is go-to tool across key mathematical area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AE71D95-A54C-2A0F-1CC4-C999F9FF6E43}"/>
              </a:ext>
            </a:extLst>
          </p:cNvPr>
          <p:cNvGraphicFramePr>
            <a:graphicFrameLocks noGrp="1"/>
          </p:cNvGraphicFramePr>
          <p:nvPr/>
        </p:nvGraphicFramePr>
        <p:xfrm>
          <a:off x="326030" y="1313343"/>
          <a:ext cx="11431512" cy="53018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0168">
                  <a:extLst>
                    <a:ext uri="{9D8B030D-6E8A-4147-A177-3AD203B41FA5}">
                      <a16:colId xmlns:a16="http://schemas.microsoft.com/office/drawing/2014/main" val="1533302924"/>
                    </a:ext>
                  </a:extLst>
                </a:gridCol>
                <a:gridCol w="1270168">
                  <a:extLst>
                    <a:ext uri="{9D8B030D-6E8A-4147-A177-3AD203B41FA5}">
                      <a16:colId xmlns:a16="http://schemas.microsoft.com/office/drawing/2014/main" val="4056742983"/>
                    </a:ext>
                  </a:extLst>
                </a:gridCol>
                <a:gridCol w="1270168">
                  <a:extLst>
                    <a:ext uri="{9D8B030D-6E8A-4147-A177-3AD203B41FA5}">
                      <a16:colId xmlns:a16="http://schemas.microsoft.com/office/drawing/2014/main" val="2988414726"/>
                    </a:ext>
                  </a:extLst>
                </a:gridCol>
                <a:gridCol w="1270168">
                  <a:extLst>
                    <a:ext uri="{9D8B030D-6E8A-4147-A177-3AD203B41FA5}">
                      <a16:colId xmlns:a16="http://schemas.microsoft.com/office/drawing/2014/main" val="2945748064"/>
                    </a:ext>
                  </a:extLst>
                </a:gridCol>
                <a:gridCol w="1270168">
                  <a:extLst>
                    <a:ext uri="{9D8B030D-6E8A-4147-A177-3AD203B41FA5}">
                      <a16:colId xmlns:a16="http://schemas.microsoft.com/office/drawing/2014/main" val="2472795188"/>
                    </a:ext>
                  </a:extLst>
                </a:gridCol>
                <a:gridCol w="1270168">
                  <a:extLst>
                    <a:ext uri="{9D8B030D-6E8A-4147-A177-3AD203B41FA5}">
                      <a16:colId xmlns:a16="http://schemas.microsoft.com/office/drawing/2014/main" val="3714879611"/>
                    </a:ext>
                  </a:extLst>
                </a:gridCol>
                <a:gridCol w="1270168">
                  <a:extLst>
                    <a:ext uri="{9D8B030D-6E8A-4147-A177-3AD203B41FA5}">
                      <a16:colId xmlns:a16="http://schemas.microsoft.com/office/drawing/2014/main" val="1736554694"/>
                    </a:ext>
                  </a:extLst>
                </a:gridCol>
                <a:gridCol w="1270168">
                  <a:extLst>
                    <a:ext uri="{9D8B030D-6E8A-4147-A177-3AD203B41FA5}">
                      <a16:colId xmlns:a16="http://schemas.microsoft.com/office/drawing/2014/main" val="740740647"/>
                    </a:ext>
                  </a:extLst>
                </a:gridCol>
                <a:gridCol w="1270168">
                  <a:extLst>
                    <a:ext uri="{9D8B030D-6E8A-4147-A177-3AD203B41FA5}">
                      <a16:colId xmlns:a16="http://schemas.microsoft.com/office/drawing/2014/main" val="379526598"/>
                    </a:ext>
                  </a:extLst>
                </a:gridCol>
              </a:tblGrid>
              <a:tr h="741402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Count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Currenc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Companies/</a:t>
                      </a:r>
                      <a:br>
                        <a:rPr lang="en-US" sz="1200" b="1" dirty="0"/>
                      </a:br>
                      <a:r>
                        <a:rPr lang="en-US" sz="1200" b="1" dirty="0"/>
                        <a:t>Equi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Bon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Derivativ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Fun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Portfoli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Index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0748810"/>
                  </a:ext>
                </a:extLst>
              </a:tr>
              <a:tr h="741402">
                <a:tc>
                  <a:txBody>
                    <a:bodyPr/>
                    <a:lstStyle/>
                    <a:p>
                      <a:r>
                        <a:rPr lang="en-US" sz="1200" b="1" dirty="0"/>
                        <a:t>Monito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Economic indicators</a:t>
                      </a:r>
                    </a:p>
                    <a:p>
                      <a:r>
                        <a:rPr lang="en-US" sz="1000" dirty="0"/>
                        <a:t>-Economic calend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Pairs matri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Earnings calendars</a:t>
                      </a:r>
                    </a:p>
                    <a:p>
                      <a:r>
                        <a:rPr lang="en-US" sz="1000" dirty="0"/>
                        <a:t>-Estimates revis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Credit ratings</a:t>
                      </a:r>
                    </a:p>
                    <a:p>
                      <a:r>
                        <a:rPr lang="en-US" sz="1000" dirty="0"/>
                        <a:t>-Sovereign debt moni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Swap monit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ETF flows</a:t>
                      </a:r>
                    </a:p>
                    <a:p>
                      <a:r>
                        <a:rPr lang="en-US" sz="1000" dirty="0"/>
                        <a:t>-Mutual fund flow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Return calculations</a:t>
                      </a:r>
                    </a:p>
                    <a:p>
                      <a:r>
                        <a:rPr lang="en-US" sz="1000" dirty="0"/>
                        <a:t>-Performance attrib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Addition/deletion</a:t>
                      </a:r>
                    </a:p>
                    <a:p>
                      <a:r>
                        <a:rPr lang="en-US" sz="1000" dirty="0"/>
                        <a:t>-Composition &amp; weights</a:t>
                      </a:r>
                    </a:p>
                    <a:p>
                      <a:r>
                        <a:rPr lang="en-US" sz="1000" dirty="0"/>
                        <a:t>-Liquid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7226821"/>
                  </a:ext>
                </a:extLst>
              </a:tr>
              <a:tr h="741402">
                <a:tc>
                  <a:txBody>
                    <a:bodyPr/>
                    <a:lstStyle/>
                    <a:p>
                      <a:r>
                        <a:rPr lang="en-US" sz="1200" b="1" dirty="0"/>
                        <a:t>Fundamental analy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Aggregate debt ownershi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Interest rate differentials</a:t>
                      </a:r>
                    </a:p>
                    <a:p>
                      <a:r>
                        <a:rPr lang="en-US" sz="1000" dirty="0"/>
                        <a:t>-Hot money flow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3 statement modeling</a:t>
                      </a:r>
                    </a:p>
                    <a:p>
                      <a:r>
                        <a:rPr lang="en-US" sz="1000" dirty="0"/>
                        <a:t>-Ratio analysis</a:t>
                      </a:r>
                    </a:p>
                    <a:p>
                      <a:r>
                        <a:rPr lang="en-US" sz="1000" dirty="0"/>
                        <a:t>-Merger mode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Term structure analy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Forward curve matri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Fund tearshee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Carbon footprint</a:t>
                      </a:r>
                    </a:p>
                    <a:p>
                      <a:r>
                        <a:rPr lang="en-US" sz="1000" dirty="0"/>
                        <a:t>-Geographic &amp; sector analy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Dividend forecasts</a:t>
                      </a:r>
                    </a:p>
                    <a:p>
                      <a:r>
                        <a:rPr lang="en-US" sz="1000" dirty="0"/>
                        <a:t>-Aggregate financial state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8520247"/>
                  </a:ext>
                </a:extLst>
              </a:tr>
              <a:tr h="741402">
                <a:tc>
                  <a:txBody>
                    <a:bodyPr/>
                    <a:lstStyle/>
                    <a:p>
                      <a:r>
                        <a:rPr lang="en-US" sz="1200" b="1" dirty="0"/>
                        <a:t>Risk analy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ESG ratings</a:t>
                      </a:r>
                    </a:p>
                    <a:p>
                      <a:r>
                        <a:rPr lang="en-US" sz="1000" dirty="0"/>
                        <a:t>-Economic scenarios</a:t>
                      </a:r>
                    </a:p>
                    <a:p>
                      <a:r>
                        <a:rPr lang="en-US" sz="1000" dirty="0"/>
                        <a:t>-Geopolitical analy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Implied volatility</a:t>
                      </a:r>
                    </a:p>
                    <a:p>
                      <a:r>
                        <a:rPr lang="en-US" sz="1000" dirty="0"/>
                        <a:t>-Butterflies</a:t>
                      </a:r>
                    </a:p>
                    <a:p>
                      <a:r>
                        <a:rPr lang="en-US" sz="1000" dirty="0"/>
                        <a:t>-Risk reversa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Credit risk ratings</a:t>
                      </a:r>
                    </a:p>
                    <a:p>
                      <a:r>
                        <a:rPr lang="en-US" sz="1000" dirty="0"/>
                        <a:t>-Default probabilities</a:t>
                      </a:r>
                    </a:p>
                    <a:p>
                      <a:r>
                        <a:rPr lang="en-US" sz="1000" dirty="0"/>
                        <a:t>-ESG scorecar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Curve shift scenario analy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Commodity supply and demand analy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Risk metrics/</a:t>
                      </a:r>
                      <a:br>
                        <a:rPr lang="en-US" sz="1000" dirty="0"/>
                      </a:br>
                      <a:r>
                        <a:rPr lang="en-US" sz="1000" dirty="0"/>
                        <a:t>characterist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Key rate duration</a:t>
                      </a:r>
                    </a:p>
                    <a:p>
                      <a:r>
                        <a:rPr lang="en-US" sz="1000" dirty="0"/>
                        <a:t>-Covariation matrix</a:t>
                      </a:r>
                    </a:p>
                    <a:p>
                      <a:r>
                        <a:rPr lang="en-US" sz="1000" dirty="0"/>
                        <a:t>-”Look through” analy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Exposures</a:t>
                      </a:r>
                    </a:p>
                    <a:p>
                      <a:r>
                        <a:rPr lang="en-US" sz="1000" dirty="0"/>
                        <a:t>-Sector weigh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9691648"/>
                  </a:ext>
                </a:extLst>
              </a:tr>
              <a:tr h="741402">
                <a:tc>
                  <a:txBody>
                    <a:bodyPr/>
                    <a:lstStyle/>
                    <a:p>
                      <a:r>
                        <a:rPr lang="en-US" sz="1200" b="1" dirty="0"/>
                        <a:t>Pric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60059"/>
                          </a:solidFill>
                        </a:rPr>
                        <a:t>-Credit ratin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Dealer matri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Deal database</a:t>
                      </a:r>
                    </a:p>
                    <a:p>
                      <a:r>
                        <a:rPr lang="en-US" sz="1000" dirty="0"/>
                        <a:t>-Beta calcul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Matrix pric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Option pric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NAV re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Portfolio P&amp;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Weighting methodolog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7236681"/>
                  </a:ext>
                </a:extLst>
              </a:tr>
              <a:tr h="741402">
                <a:tc>
                  <a:txBody>
                    <a:bodyPr/>
                    <a:lstStyle/>
                    <a:p>
                      <a:r>
                        <a:rPr lang="en-US" sz="1200" b="1" dirty="0"/>
                        <a:t>Valu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Sovereign sprea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PPP analysis</a:t>
                      </a:r>
                    </a:p>
                    <a:p>
                      <a:r>
                        <a:rPr lang="en-US" sz="1000" dirty="0"/>
                        <a:t>-REER/NE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Comps tables</a:t>
                      </a:r>
                    </a:p>
                    <a:p>
                      <a:r>
                        <a:rPr lang="en-US" sz="1000" dirty="0"/>
                        <a:t>-DCF valu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Comparable analysis</a:t>
                      </a:r>
                    </a:p>
                    <a:p>
                      <a:r>
                        <a:rPr lang="en-US" sz="1000" dirty="0"/>
                        <a:t>-Spread hist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Spaghetti diagram</a:t>
                      </a:r>
                    </a:p>
                    <a:p>
                      <a:r>
                        <a:rPr lang="en-US" sz="1000" dirty="0"/>
                        <a:t>-Swap valu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Public market equivalents analy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Characteristics analy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Relative valuation</a:t>
                      </a:r>
                    </a:p>
                    <a:p>
                      <a:r>
                        <a:rPr lang="en-US" sz="1000" dirty="0"/>
                        <a:t>-Comps tab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3459624"/>
                  </a:ext>
                </a:extLst>
              </a:tr>
              <a:tr h="741402">
                <a:tc>
                  <a:txBody>
                    <a:bodyPr/>
                    <a:lstStyle/>
                    <a:p>
                      <a:r>
                        <a:rPr lang="en-US" sz="1200" b="1" dirty="0"/>
                        <a:t>Idea gene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Central bank watch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Forward discount rates</a:t>
                      </a:r>
                    </a:p>
                    <a:p>
                      <a:r>
                        <a:rPr lang="en-US" sz="1000" dirty="0"/>
                        <a:t>-Pairs trad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Valuation screens</a:t>
                      </a:r>
                    </a:p>
                    <a:p>
                      <a:r>
                        <a:rPr lang="en-US" sz="1000" dirty="0"/>
                        <a:t>-Merger arbitrage</a:t>
                      </a:r>
                    </a:p>
                    <a:p>
                      <a:r>
                        <a:rPr lang="en-US" sz="1000" dirty="0"/>
                        <a:t>-Technical analysis scree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Rich v cheap analy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Multi-leg strategies</a:t>
                      </a:r>
                    </a:p>
                    <a:p>
                      <a:r>
                        <a:rPr lang="en-US" sz="1000" dirty="0"/>
                        <a:t>-Roll strategies</a:t>
                      </a:r>
                    </a:p>
                    <a:p>
                      <a:r>
                        <a:rPr lang="en-US" sz="1000" dirty="0"/>
                        <a:t>-Implied vo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Attribution/ contribution analysis</a:t>
                      </a:r>
                    </a:p>
                    <a:p>
                      <a:r>
                        <a:rPr lang="en-US" sz="1000" dirty="0"/>
                        <a:t>-Style analy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Performance optimization</a:t>
                      </a:r>
                    </a:p>
                    <a:p>
                      <a:r>
                        <a:rPr lang="en-US" sz="1000" dirty="0"/>
                        <a:t>-What-if analy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-Year-end target prices rang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8025139"/>
                  </a:ext>
                </a:extLst>
              </a:tr>
            </a:tbl>
          </a:graphicData>
        </a:graphic>
      </p:graphicFrame>
      <p:sp>
        <p:nvSpPr>
          <p:cNvPr id="3" name="Rectangle 257">
            <a:extLst>
              <a:ext uri="{FF2B5EF4-FFF2-40B4-BE49-F238E27FC236}">
                <a16:creationId xmlns:a16="http://schemas.microsoft.com/office/drawing/2014/main" id="{061CF558-EE7E-0520-8E45-4B04330370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66165" y="294485"/>
            <a:ext cx="1763713" cy="287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defTabSz="881063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defTabSz="881063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defTabSz="881063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defTabSz="881063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defTabSz="881063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ctr" defTabSz="881063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300" b="1" i="0" u="none" strike="noStrike" kern="12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Verdana" panose="020B0604030504040204" pitchFamily="34" charset="0"/>
                <a:ea typeface="SimSun" panose="02010600030101010101" pitchFamily="2" charset="-122"/>
                <a:cs typeface="+mn-cs"/>
              </a:rPr>
              <a:t>ILLUSTRATIVE</a:t>
            </a:r>
          </a:p>
        </p:txBody>
      </p:sp>
      <p:sp>
        <p:nvSpPr>
          <p:cNvPr id="4" name="Line 259">
            <a:extLst>
              <a:ext uri="{FF2B5EF4-FFF2-40B4-BE49-F238E27FC236}">
                <a16:creationId xmlns:a16="http://schemas.microsoft.com/office/drawing/2014/main" id="{F17B1949-9CC0-D705-B6BC-EC8E21D72967}"/>
              </a:ext>
            </a:extLst>
          </p:cNvPr>
          <p:cNvSpPr>
            <a:spLocks noChangeShapeType="1"/>
          </p:cNvSpPr>
          <p:nvPr/>
        </p:nvSpPr>
        <p:spPr bwMode="auto">
          <a:xfrm>
            <a:off x="10196328" y="332585"/>
            <a:ext cx="17018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Line 260">
            <a:extLst>
              <a:ext uri="{FF2B5EF4-FFF2-40B4-BE49-F238E27FC236}">
                <a16:creationId xmlns:a16="http://schemas.microsoft.com/office/drawing/2014/main" id="{C37060A2-3454-20CC-82F1-C78FB39490ED}"/>
              </a:ext>
            </a:extLst>
          </p:cNvPr>
          <p:cNvSpPr>
            <a:spLocks noChangeShapeType="1"/>
          </p:cNvSpPr>
          <p:nvPr/>
        </p:nvSpPr>
        <p:spPr bwMode="auto">
          <a:xfrm>
            <a:off x="10196328" y="300835"/>
            <a:ext cx="17018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Line 261">
            <a:extLst>
              <a:ext uri="{FF2B5EF4-FFF2-40B4-BE49-F238E27FC236}">
                <a16:creationId xmlns:a16="http://schemas.microsoft.com/office/drawing/2014/main" id="{1FFA742E-89B0-60D8-BE4F-AD87551A2B4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196328" y="550072"/>
            <a:ext cx="17018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Line 262">
            <a:extLst>
              <a:ext uri="{FF2B5EF4-FFF2-40B4-BE49-F238E27FC236}">
                <a16:creationId xmlns:a16="http://schemas.microsoft.com/office/drawing/2014/main" id="{5D4EDA8F-1EB5-08BF-D534-79758F63BD3D}"/>
              </a:ext>
            </a:extLst>
          </p:cNvPr>
          <p:cNvSpPr>
            <a:spLocks noChangeShapeType="1"/>
          </p:cNvSpPr>
          <p:nvPr/>
        </p:nvSpPr>
        <p:spPr bwMode="auto">
          <a:xfrm>
            <a:off x="10196328" y="580235"/>
            <a:ext cx="17018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97359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60000"/>
            <a:lumOff val="4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07FB596-776E-5FD9-9BAB-E204867C69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FC5110D-4FF9-286F-CC1B-C19A898A9A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C5110D-4FF9-286F-CC1B-C19A898A9A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D20B9154-6F97-1886-10D8-C58910023D6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6EBD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F8F0814-BEB5-754F-839A-ADDAF98E5C47}"/>
              </a:ext>
            </a:extLst>
          </p:cNvPr>
          <p:cNvSpPr txBox="1">
            <a:spLocks/>
          </p:cNvSpPr>
          <p:nvPr/>
        </p:nvSpPr>
        <p:spPr>
          <a:xfrm>
            <a:off x="274179" y="492483"/>
            <a:ext cx="11729028" cy="63649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accent2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Georgia" panose="02040502050405020303" pitchFamily="18" charset="0"/>
                <a:ea typeface="+mj-ea"/>
                <a:cs typeface="+mj-cs"/>
              </a:rPr>
              <a:t>CFA Program contains Excel “snippets” throughout, weaving in relevant Excel functions; learn finance &amp; learn Exc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C674B9-2255-3370-9384-EBCAA7BAAC6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7857"/>
          <a:stretch/>
        </p:blipFill>
        <p:spPr>
          <a:xfrm>
            <a:off x="3336048" y="1781033"/>
            <a:ext cx="5670431" cy="348745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EA536F8-604D-9D07-1805-6596EAAF6A8A}"/>
              </a:ext>
            </a:extLst>
          </p:cNvPr>
          <p:cNvSpPr txBox="1"/>
          <p:nvPr/>
        </p:nvSpPr>
        <p:spPr>
          <a:xfrm>
            <a:off x="-279781" y="2121775"/>
            <a:ext cx="357716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panies/Equities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00" cap="none" spc="0" normalizeH="0" baseline="0" noProof="0" dirty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XNPV:</a:t>
            </a: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PV for schedule of cashflows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B:</a:t>
            </a: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preciation fixed-declining balance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nds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FFECT:</a:t>
            </a: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ffective annual interest rate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DURATION: </a:t>
            </a: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caulay modified duration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nds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XIRR:</a:t>
            </a: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ate of return for schedule of cashflows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CENTILE: </a:t>
            </a: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-</a:t>
            </a:r>
            <a:r>
              <a:rPr kumimoji="0" lang="en-US" sz="1200" b="0" i="0" u="none" strike="noStrike" kern="100" cap="none" spc="0" normalizeH="0" baseline="0" noProof="0" dirty="0" err="1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</a:t>
            </a: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centile of valu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77C86D6-D712-4EDB-836B-1813E5F4FBA3}"/>
              </a:ext>
            </a:extLst>
          </p:cNvPr>
          <p:cNvSpPr txBox="1"/>
          <p:nvPr/>
        </p:nvSpPr>
        <p:spPr>
          <a:xfrm>
            <a:off x="8894617" y="2121775"/>
            <a:ext cx="329738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rtfolios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00" cap="none" spc="0" normalizeH="0" baseline="0" noProof="0" dirty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VAR: </a:t>
            </a: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variance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LOPE: </a:t>
            </a: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lope of a linear regression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exes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00" cap="none" spc="0" normalizeH="0" baseline="0" noProof="0" dirty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OMEAN:</a:t>
            </a: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Geometric mean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RREL: </a:t>
            </a: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rrelation coefficient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rivatives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00" cap="none" spc="0" normalizeH="0" baseline="0" noProof="0" dirty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KEW:</a:t>
            </a: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kewness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URT: </a:t>
            </a: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urtosis</a:t>
            </a:r>
          </a:p>
        </p:txBody>
      </p:sp>
      <p:sp>
        <p:nvSpPr>
          <p:cNvPr id="9" name="Rectangle 257">
            <a:extLst>
              <a:ext uri="{FF2B5EF4-FFF2-40B4-BE49-F238E27FC236}">
                <a16:creationId xmlns:a16="http://schemas.microsoft.com/office/drawing/2014/main" id="{C1681C58-B751-45A4-AAD8-2C6A8E4AA6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66165" y="731215"/>
            <a:ext cx="1763713" cy="287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defTabSz="881063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defTabSz="881063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defTabSz="881063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defTabSz="881063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defTabSz="881063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ctr" defTabSz="881063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300" b="1" i="0" u="none" strike="noStrike" kern="1200" cap="none" spc="0" normalizeH="0" baseline="0" noProof="0" dirty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Verdana" panose="020B0604030504040204" pitchFamily="34" charset="0"/>
                <a:ea typeface="SimSun" panose="02010600030101010101" pitchFamily="2" charset="-122"/>
                <a:cs typeface="+mn-cs"/>
              </a:rPr>
              <a:t>ILLUSTRATIVE</a:t>
            </a:r>
          </a:p>
        </p:txBody>
      </p:sp>
      <p:sp>
        <p:nvSpPr>
          <p:cNvPr id="10" name="Line 259">
            <a:extLst>
              <a:ext uri="{FF2B5EF4-FFF2-40B4-BE49-F238E27FC236}">
                <a16:creationId xmlns:a16="http://schemas.microsoft.com/office/drawing/2014/main" id="{B24EBCAA-633E-E1E9-FCF1-F04203B72A4A}"/>
              </a:ext>
            </a:extLst>
          </p:cNvPr>
          <p:cNvSpPr>
            <a:spLocks noChangeShapeType="1"/>
          </p:cNvSpPr>
          <p:nvPr/>
        </p:nvSpPr>
        <p:spPr bwMode="auto">
          <a:xfrm>
            <a:off x="10196328" y="769315"/>
            <a:ext cx="17018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Line 260">
            <a:extLst>
              <a:ext uri="{FF2B5EF4-FFF2-40B4-BE49-F238E27FC236}">
                <a16:creationId xmlns:a16="http://schemas.microsoft.com/office/drawing/2014/main" id="{8A9162F0-CE3C-5676-0212-27B25F05DD17}"/>
              </a:ext>
            </a:extLst>
          </p:cNvPr>
          <p:cNvSpPr>
            <a:spLocks noChangeShapeType="1"/>
          </p:cNvSpPr>
          <p:nvPr/>
        </p:nvSpPr>
        <p:spPr bwMode="auto">
          <a:xfrm>
            <a:off x="10196328" y="737565"/>
            <a:ext cx="17018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Line 261">
            <a:extLst>
              <a:ext uri="{FF2B5EF4-FFF2-40B4-BE49-F238E27FC236}">
                <a16:creationId xmlns:a16="http://schemas.microsoft.com/office/drawing/2014/main" id="{56D527BD-5138-DAAB-B26C-5FFAC3CA84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196328" y="986802"/>
            <a:ext cx="17018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Line 262">
            <a:extLst>
              <a:ext uri="{FF2B5EF4-FFF2-40B4-BE49-F238E27FC236}">
                <a16:creationId xmlns:a16="http://schemas.microsoft.com/office/drawing/2014/main" id="{C2DF125F-0A95-8EB1-DD1E-77F1C427DF3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196328" y="1016965"/>
            <a:ext cx="17018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68610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56D6A87-0CB2-1644-A573-2E1F23EF20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9353" y="1957097"/>
            <a:ext cx="2149219" cy="1481804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1A6DDFF-DE96-824E-B1CE-C4A9063BE0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33008" y="1940123"/>
            <a:ext cx="2041255" cy="1549461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A8FD917-40B4-F34E-94D7-410C46E40C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39918" y="1957097"/>
            <a:ext cx="2100232" cy="1532488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7F86A67-CC2D-AE4D-87ED-228339C3CB7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11172" y="1940123"/>
            <a:ext cx="2245625" cy="15063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E0F2BFDA-F12E-BE4F-88DB-7957BFCB5798}"/>
              </a:ext>
            </a:extLst>
          </p:cNvPr>
          <p:cNvSpPr txBox="1">
            <a:spLocks/>
          </p:cNvSpPr>
          <p:nvPr/>
        </p:nvSpPr>
        <p:spPr>
          <a:xfrm>
            <a:off x="381000" y="580569"/>
            <a:ext cx="10515600" cy="6381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lecha S Medium" panose="02050703060505060204" pitchFamily="18" charset="0"/>
                <a:ea typeface="+mj-ea"/>
                <a:cs typeface="+mj-cs"/>
              </a:rPr>
              <a:t>Practical Skills Modules - Topics Covere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DC33701-AB7E-E34D-8ACF-0AD1602855A3}"/>
              </a:ext>
            </a:extLst>
          </p:cNvPr>
          <p:cNvSpPr txBox="1"/>
          <p:nvPr/>
        </p:nvSpPr>
        <p:spPr>
          <a:xfrm>
            <a:off x="7211969" y="3527203"/>
            <a:ext cx="2416162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b="1"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Python, Data Science &amp; AI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Financial Data Scraping, Wrangling, Cleaning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Dividend Payout Predication Using Machine Learning Regression &amp; Artificial Neural Network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Edgar Data Ingestion &amp; Sentiment Analysis Using AWS Comprehend and LSTM Neural Network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7ABE08E-C095-744F-A452-B639A169C56F}"/>
              </a:ext>
            </a:extLst>
          </p:cNvPr>
          <p:cNvSpPr txBox="1"/>
          <p:nvPr/>
        </p:nvSpPr>
        <p:spPr>
          <a:xfrm>
            <a:off x="290277" y="3527203"/>
            <a:ext cx="1856598" cy="22929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b="1"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Financial Modeling</a:t>
            </a:r>
          </a:p>
          <a:p>
            <a:pPr marL="177750" marR="0" lvl="1" indent="-177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Revenues</a:t>
            </a:r>
          </a:p>
          <a:p>
            <a:pPr marL="177750" marR="0" lvl="1" indent="-177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Costs</a:t>
            </a:r>
          </a:p>
          <a:p>
            <a:pPr marL="177750" marR="0" lvl="1" indent="-177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Depreciation</a:t>
            </a:r>
          </a:p>
          <a:p>
            <a:pPr marL="177750" marR="0" lvl="1" indent="-177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Income Tax</a:t>
            </a:r>
          </a:p>
          <a:p>
            <a:pPr marL="177750" marR="0" lvl="1" indent="-177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Working Capital</a:t>
            </a:r>
          </a:p>
          <a:p>
            <a:pPr marL="177750" marR="0" lvl="1" indent="-177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Capital Structure</a:t>
            </a:r>
          </a:p>
          <a:p>
            <a:pPr marL="177750" marR="0" lvl="1" indent="-177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Financial Statements</a:t>
            </a:r>
          </a:p>
          <a:p>
            <a:pPr marL="177750" marR="0" lvl="1" indent="-177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Outpu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B75ED11-8FAB-074D-B47B-DAF93F095839}"/>
              </a:ext>
            </a:extLst>
          </p:cNvPr>
          <p:cNvSpPr txBox="1"/>
          <p:nvPr/>
        </p:nvSpPr>
        <p:spPr>
          <a:xfrm>
            <a:off x="2562953" y="3559755"/>
            <a:ext cx="2427082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b="1"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Python Programming Fundamental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Environmental Setup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Variable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Data Type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Comparison Operator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Conditional Statement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Loop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Function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Panda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Portfolio Optimiz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748C53D-BC23-A94D-8594-BDB78322FF05}"/>
              </a:ext>
            </a:extLst>
          </p:cNvPr>
          <p:cNvSpPr txBox="1"/>
          <p:nvPr/>
        </p:nvSpPr>
        <p:spPr>
          <a:xfrm>
            <a:off x="4963970" y="3559755"/>
            <a:ext cx="2331384" cy="213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b="1"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Analyst Skill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Critical Factors of a Stock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Generating Insight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Choosing Valuation Methodology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Target Prices 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Communicating Stock Call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Time and Information Managem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854024D-C0EF-0800-12A8-06FE398DC80B}"/>
              </a:ext>
            </a:extLst>
          </p:cNvPr>
          <p:cNvSpPr txBox="1"/>
          <p:nvPr/>
        </p:nvSpPr>
        <p:spPr>
          <a:xfrm>
            <a:off x="9790276" y="3543845"/>
            <a:ext cx="2085854" cy="25083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b="1"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Portfolio Development and Construction 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Investment Policy Statement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Data Analysi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Strategic Asset Allocation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Capital Markets Expectation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Sensitivity analysis 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Performance Evaluatio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4BAF417-C33A-6FCA-53CC-7074151C755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2277" y="1933648"/>
            <a:ext cx="2259167" cy="151277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72DC4D92-4D1E-433D-7207-86408BFC42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4A4924-7CC3-4BF6-9C5C-A8E770D15754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AutoShape 96">
            <a:extLst>
              <a:ext uri="{FF2B5EF4-FFF2-40B4-BE49-F238E27FC236}">
                <a16:creationId xmlns:a16="http://schemas.microsoft.com/office/drawing/2014/main" id="{9AD016C6-E0B4-C69C-9EBA-F1FB21699F8F}"/>
              </a:ext>
            </a:extLst>
          </p:cNvPr>
          <p:cNvSpPr>
            <a:spLocks/>
          </p:cNvSpPr>
          <p:nvPr/>
        </p:nvSpPr>
        <p:spPr bwMode="auto">
          <a:xfrm rot="16200000">
            <a:off x="2364519" y="-521243"/>
            <a:ext cx="290513" cy="4498852"/>
          </a:xfrm>
          <a:prstGeom prst="rightBrace">
            <a:avLst>
              <a:gd name="adj1" fmla="val 48634"/>
              <a:gd name="adj2" fmla="val 50000"/>
            </a:avLst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2400" b="0" i="0" u="none" strike="noStrike" kern="1200" cap="none" spc="0" normalizeH="0" baseline="0" noProof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17" name="AutoShape 96">
            <a:extLst>
              <a:ext uri="{FF2B5EF4-FFF2-40B4-BE49-F238E27FC236}">
                <a16:creationId xmlns:a16="http://schemas.microsoft.com/office/drawing/2014/main" id="{673B31C6-DFD2-82B0-DB8C-3F8D3E7D3547}"/>
              </a:ext>
            </a:extLst>
          </p:cNvPr>
          <p:cNvSpPr>
            <a:spLocks/>
          </p:cNvSpPr>
          <p:nvPr/>
        </p:nvSpPr>
        <p:spPr bwMode="auto">
          <a:xfrm rot="16200000">
            <a:off x="7146069" y="-521243"/>
            <a:ext cx="290513" cy="4498852"/>
          </a:xfrm>
          <a:prstGeom prst="rightBrace">
            <a:avLst>
              <a:gd name="adj1" fmla="val 48634"/>
              <a:gd name="adj2" fmla="val 50000"/>
            </a:avLst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2400" b="0" i="0" u="none" strike="noStrike" kern="1200" cap="none" spc="0" normalizeH="0" baseline="0" noProof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18" name="AutoShape 96">
            <a:extLst>
              <a:ext uri="{FF2B5EF4-FFF2-40B4-BE49-F238E27FC236}">
                <a16:creationId xmlns:a16="http://schemas.microsoft.com/office/drawing/2014/main" id="{25B66525-B484-2C3E-54DE-EA0682049A07}"/>
              </a:ext>
            </a:extLst>
          </p:cNvPr>
          <p:cNvSpPr>
            <a:spLocks/>
          </p:cNvSpPr>
          <p:nvPr/>
        </p:nvSpPr>
        <p:spPr bwMode="auto">
          <a:xfrm rot="16200000">
            <a:off x="10756554" y="608548"/>
            <a:ext cx="290513" cy="2239267"/>
          </a:xfrm>
          <a:prstGeom prst="rightBrace">
            <a:avLst>
              <a:gd name="adj1" fmla="val 48634"/>
              <a:gd name="adj2" fmla="val 50000"/>
            </a:avLst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2400" b="0" i="0" u="none" strike="noStrike" kern="1200" cap="none" spc="0" normalizeH="0" baseline="0" noProof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DC8FF93-CED9-550B-804E-3CC3578D4399}"/>
              </a:ext>
            </a:extLst>
          </p:cNvPr>
          <p:cNvSpPr txBox="1"/>
          <p:nvPr/>
        </p:nvSpPr>
        <p:spPr>
          <a:xfrm>
            <a:off x="2083981" y="1212117"/>
            <a:ext cx="8643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vel I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79BFDD3-4ED3-10C9-146F-362E28AFFA27}"/>
              </a:ext>
            </a:extLst>
          </p:cNvPr>
          <p:cNvSpPr txBox="1"/>
          <p:nvPr/>
        </p:nvSpPr>
        <p:spPr>
          <a:xfrm>
            <a:off x="6840286" y="1194394"/>
            <a:ext cx="9284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vel II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9530F4B-9140-1939-BEFD-5C056812BEB7}"/>
              </a:ext>
            </a:extLst>
          </p:cNvPr>
          <p:cNvSpPr txBox="1"/>
          <p:nvPr/>
        </p:nvSpPr>
        <p:spPr>
          <a:xfrm>
            <a:off x="10416373" y="1176671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vel II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32022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Custom Design">
  <a:themeElements>
    <a:clrScheme name="CFA">
      <a:dk1>
        <a:srgbClr val="060059"/>
      </a:dk1>
      <a:lt1>
        <a:srgbClr val="F6EBDE"/>
      </a:lt1>
      <a:dk2>
        <a:srgbClr val="050058"/>
      </a:dk2>
      <a:lt2>
        <a:srgbClr val="F6EBDE"/>
      </a:lt2>
      <a:accent1>
        <a:srgbClr val="000000"/>
      </a:accent1>
      <a:accent2>
        <a:srgbClr val="FFFFFF"/>
      </a:accent2>
      <a:accent3>
        <a:srgbClr val="4376FE"/>
      </a:accent3>
      <a:accent4>
        <a:srgbClr val="FFC000"/>
      </a:accent4>
      <a:accent5>
        <a:srgbClr val="00BBFF"/>
      </a:accent5>
      <a:accent6>
        <a:srgbClr val="7A46FF"/>
      </a:accent6>
      <a:hlink>
        <a:srgbClr val="4376FE"/>
      </a:hlink>
      <a:folHlink>
        <a:srgbClr val="4376F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Green Yellow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Prep Presenation Template" id="{AB9635AF-A7E5-9C4C-95A2-F01077BCC181}" vid="{46AEEF45-41D9-9C45-BA16-E172F3173A6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</TotalTime>
  <Words>619</Words>
  <Application>Microsoft Office PowerPoint</Application>
  <PresentationFormat>Widescreen</PresentationFormat>
  <Paragraphs>191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9" baseType="lpstr">
      <vt:lpstr>Aptos</vt:lpstr>
      <vt:lpstr>Aptos Display</vt:lpstr>
      <vt:lpstr>Arial</vt:lpstr>
      <vt:lpstr>Azo Sans</vt:lpstr>
      <vt:lpstr>Calibri</vt:lpstr>
      <vt:lpstr>Calibri Light</vt:lpstr>
      <vt:lpstr>Flecha S Medium</vt:lpstr>
      <vt:lpstr>Georgia</vt:lpstr>
      <vt:lpstr>Verdana</vt:lpstr>
      <vt:lpstr>Office Theme</vt:lpstr>
      <vt:lpstr>Custom Design</vt:lpstr>
      <vt:lpstr>1_Office Theme</vt:lpstr>
      <vt:lpstr>think-cell Slide</vt:lpstr>
      <vt:lpstr>New CFA Excel Content</vt:lpstr>
      <vt:lpstr>PowerPoint Presentation</vt:lpstr>
      <vt:lpstr>We have barely begun to weave toolkits into the curriculum itself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imothy Michael</dc:creator>
  <cp:lastModifiedBy>Timothy Michael</cp:lastModifiedBy>
  <cp:revision>1</cp:revision>
  <dcterms:created xsi:type="dcterms:W3CDTF">2025-09-29T17:25:23Z</dcterms:created>
  <dcterms:modified xsi:type="dcterms:W3CDTF">2025-09-29T17:32:38Z</dcterms:modified>
</cp:coreProperties>
</file>